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handoutMasterIdLst>
    <p:handoutMasterId r:id="rId23"/>
  </p:handoutMasterIdLst>
  <p:sldIdLst>
    <p:sldId id="306" r:id="rId2"/>
    <p:sldId id="319" r:id="rId3"/>
    <p:sldId id="321" r:id="rId4"/>
    <p:sldId id="311" r:id="rId5"/>
    <p:sldId id="312" r:id="rId6"/>
    <p:sldId id="318" r:id="rId7"/>
    <p:sldId id="329" r:id="rId8"/>
    <p:sldId id="340" r:id="rId9"/>
    <p:sldId id="328" r:id="rId10"/>
    <p:sldId id="344" r:id="rId11"/>
    <p:sldId id="345" r:id="rId12"/>
    <p:sldId id="346" r:id="rId13"/>
    <p:sldId id="347" r:id="rId14"/>
    <p:sldId id="348" r:id="rId15"/>
    <p:sldId id="335" r:id="rId16"/>
    <p:sldId id="336" r:id="rId17"/>
    <p:sldId id="337" r:id="rId18"/>
    <p:sldId id="338" r:id="rId19"/>
    <p:sldId id="339" r:id="rId20"/>
    <p:sldId id="324" r:id="rId21"/>
  </p:sldIdLst>
  <p:sldSz cx="12192000" cy="6858000"/>
  <p:notesSz cx="7023100" cy="93091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08" userDrawn="1">
          <p15:clr>
            <a:srgbClr val="A4A3A4"/>
          </p15:clr>
        </p15:guide>
        <p15:guide id="3" orient="horz" pos="218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y Steerman" initials="KS" lastIdx="2" clrIdx="0">
    <p:extLst>
      <p:ext uri="{19B8F6BF-5375-455C-9EA6-DF929625EA0E}">
        <p15:presenceInfo xmlns:p15="http://schemas.microsoft.com/office/powerpoint/2012/main" userId="Kathy Steerm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577C"/>
    <a:srgbClr val="4AA6E3"/>
    <a:srgbClr val="06376A"/>
    <a:srgbClr val="4F6077"/>
    <a:srgbClr val="013061"/>
    <a:srgbClr val="4C5C73"/>
    <a:srgbClr val="429BD6"/>
    <a:srgbClr val="194F73"/>
    <a:srgbClr val="A9D7F9"/>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E404DE-8FD7-4064-B002-2A0D82B89909}" v="1" dt="2023-12-18T16:34:48.9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6" d="100"/>
          <a:sy n="76" d="100"/>
        </p:scale>
        <p:origin x="840" y="48"/>
      </p:cViewPr>
      <p:guideLst>
        <p:guide pos="408"/>
        <p:guide orient="horz" pos="218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 Harrington" userId="18242eab-60a8-4793-9a10-805857572d11" providerId="ADAL" clId="{C66DC3C0-0771-443E-8162-5388A87AE7A0}"/>
    <pc:docChg chg="undo custSel modSld">
      <pc:chgData name="Dan Harrington" userId="18242eab-60a8-4793-9a10-805857572d11" providerId="ADAL" clId="{C66DC3C0-0771-443E-8162-5388A87AE7A0}" dt="2023-12-19T15:27:24.148" v="54" actId="20577"/>
      <pc:docMkLst>
        <pc:docMk/>
      </pc:docMkLst>
      <pc:sldChg chg="modSp mod">
        <pc:chgData name="Dan Harrington" userId="18242eab-60a8-4793-9a10-805857572d11" providerId="ADAL" clId="{C66DC3C0-0771-443E-8162-5388A87AE7A0}" dt="2023-12-19T15:27:24.148" v="54" actId="20577"/>
        <pc:sldMkLst>
          <pc:docMk/>
          <pc:sldMk cId="460027605" sldId="312"/>
        </pc:sldMkLst>
        <pc:spChg chg="mod">
          <ac:chgData name="Dan Harrington" userId="18242eab-60a8-4793-9a10-805857572d11" providerId="ADAL" clId="{C66DC3C0-0771-443E-8162-5388A87AE7A0}" dt="2023-12-19T15:27:24.148" v="54" actId="20577"/>
          <ac:spMkLst>
            <pc:docMk/>
            <pc:sldMk cId="460027605" sldId="312"/>
            <ac:spMk id="6" creationId="{4B383A1F-DBA7-4D0D-871E-55BFE2B1EDAA}"/>
          </ac:spMkLst>
        </pc:spChg>
      </pc:sldChg>
      <pc:sldChg chg="addSp delSp modSp mod">
        <pc:chgData name="Dan Harrington" userId="18242eab-60a8-4793-9a10-805857572d11" providerId="ADAL" clId="{C66DC3C0-0771-443E-8162-5388A87AE7A0}" dt="2023-12-19T15:26:29.516" v="44" actId="13926"/>
        <pc:sldMkLst>
          <pc:docMk/>
          <pc:sldMk cId="3715377214" sldId="329"/>
        </pc:sldMkLst>
        <pc:spChg chg="mod">
          <ac:chgData name="Dan Harrington" userId="18242eab-60a8-4793-9a10-805857572d11" providerId="ADAL" clId="{C66DC3C0-0771-443E-8162-5388A87AE7A0}" dt="2023-12-19T15:26:29.516" v="44" actId="13926"/>
          <ac:spMkLst>
            <pc:docMk/>
            <pc:sldMk cId="3715377214" sldId="329"/>
            <ac:spMk id="5" creationId="{58175C89-3DAC-F488-EFC2-9E47E5C62AA8}"/>
          </ac:spMkLst>
        </pc:spChg>
        <pc:spChg chg="add del">
          <ac:chgData name="Dan Harrington" userId="18242eab-60a8-4793-9a10-805857572d11" providerId="ADAL" clId="{C66DC3C0-0771-443E-8162-5388A87AE7A0}" dt="2023-12-19T15:24:31.532" v="2" actId="478"/>
          <ac:spMkLst>
            <pc:docMk/>
            <pc:sldMk cId="3715377214" sldId="329"/>
            <ac:spMk id="12" creationId="{12F1E2FD-3258-7C84-3830-E49C37E14741}"/>
          </ac:spMkLst>
        </pc:spChg>
        <pc:spChg chg="add del">
          <ac:chgData name="Dan Harrington" userId="18242eab-60a8-4793-9a10-805857572d11" providerId="ADAL" clId="{C66DC3C0-0771-443E-8162-5388A87AE7A0}" dt="2023-12-19T15:24:36.349" v="3" actId="478"/>
          <ac:spMkLst>
            <pc:docMk/>
            <pc:sldMk cId="3715377214" sldId="329"/>
            <ac:spMk id="14" creationId="{04401408-DFBC-6FEE-98C4-60F222674631}"/>
          </ac:spMkLst>
        </pc:spChg>
        <pc:spChg chg="add del">
          <ac:chgData name="Dan Harrington" userId="18242eab-60a8-4793-9a10-805857572d11" providerId="ADAL" clId="{C66DC3C0-0771-443E-8162-5388A87AE7A0}" dt="2023-12-19T15:24:36.349" v="3" actId="478"/>
          <ac:spMkLst>
            <pc:docMk/>
            <pc:sldMk cId="3715377214" sldId="329"/>
            <ac:spMk id="15" creationId="{75D2E2C3-9EA4-1943-A0A9-5ED0B98E248C}"/>
          </ac:spMkLst>
        </pc:spChg>
        <pc:spChg chg="add del">
          <ac:chgData name="Dan Harrington" userId="18242eab-60a8-4793-9a10-805857572d11" providerId="ADAL" clId="{C66DC3C0-0771-443E-8162-5388A87AE7A0}" dt="2023-12-19T15:24:36.349" v="3" actId="478"/>
          <ac:spMkLst>
            <pc:docMk/>
            <pc:sldMk cId="3715377214" sldId="329"/>
            <ac:spMk id="16" creationId="{08AE0C04-3DC3-D70F-C316-38E8E9A50E2C}"/>
          </ac:spMkLst>
        </pc:spChg>
        <pc:spChg chg="add del">
          <ac:chgData name="Dan Harrington" userId="18242eab-60a8-4793-9a10-805857572d11" providerId="ADAL" clId="{C66DC3C0-0771-443E-8162-5388A87AE7A0}" dt="2023-12-19T15:24:36.349" v="3" actId="478"/>
          <ac:spMkLst>
            <pc:docMk/>
            <pc:sldMk cId="3715377214" sldId="329"/>
            <ac:spMk id="17" creationId="{66D24EE8-33F7-E0B6-A496-1B0DBDFBA133}"/>
          </ac:spMkLst>
        </pc:spChg>
        <pc:spChg chg="add del">
          <ac:chgData name="Dan Harrington" userId="18242eab-60a8-4793-9a10-805857572d11" providerId="ADAL" clId="{C66DC3C0-0771-443E-8162-5388A87AE7A0}" dt="2023-12-19T15:24:31.532" v="2" actId="478"/>
          <ac:spMkLst>
            <pc:docMk/>
            <pc:sldMk cId="3715377214" sldId="329"/>
            <ac:spMk id="19" creationId="{30650634-D504-4CB9-BEBB-70D568E219DB}"/>
          </ac:spMkLst>
        </pc:spChg>
        <pc:picChg chg="del">
          <ac:chgData name="Dan Harrington" userId="18242eab-60a8-4793-9a10-805857572d11" providerId="ADAL" clId="{C66DC3C0-0771-443E-8162-5388A87AE7A0}" dt="2023-12-19T15:24:27.244" v="0" actId="478"/>
          <ac:picMkLst>
            <pc:docMk/>
            <pc:sldMk cId="3715377214" sldId="329"/>
            <ac:picMk id="20" creationId="{97DDB40C-CB8A-E366-4819-52AC133C1DC2}"/>
          </ac:picMkLst>
        </pc:picChg>
      </pc:sldChg>
    </pc:docChg>
  </pc:docChgLst>
  <pc:docChgLst>
    <pc:chgData name="Scott Farkas" userId="9a0b927d-5f50-445c-b573-80e669c03572" providerId="ADAL" clId="{66E404DE-8FD7-4064-B002-2A0D82B89909}"/>
    <pc:docChg chg="custSel addSld delSld modSld">
      <pc:chgData name="Scott Farkas" userId="9a0b927d-5f50-445c-b573-80e669c03572" providerId="ADAL" clId="{66E404DE-8FD7-4064-B002-2A0D82B89909}" dt="2023-12-18T17:27:34.830" v="135" actId="13926"/>
      <pc:docMkLst>
        <pc:docMk/>
      </pc:docMkLst>
      <pc:sldChg chg="addSp delSp modSp mod setBg">
        <pc:chgData name="Scott Farkas" userId="9a0b927d-5f50-445c-b573-80e669c03572" providerId="ADAL" clId="{66E404DE-8FD7-4064-B002-2A0D82B89909}" dt="2023-12-18T16:41:23.050" v="126" actId="20577"/>
        <pc:sldMkLst>
          <pc:docMk/>
          <pc:sldMk cId="448232790" sldId="318"/>
        </pc:sldMkLst>
        <pc:spChg chg="mod ord">
          <ac:chgData name="Scott Farkas" userId="9a0b927d-5f50-445c-b573-80e669c03572" providerId="ADAL" clId="{66E404DE-8FD7-4064-B002-2A0D82B89909}" dt="2023-12-18T16:34:54.864" v="3" actId="26606"/>
          <ac:spMkLst>
            <pc:docMk/>
            <pc:sldMk cId="448232790" sldId="318"/>
            <ac:spMk id="2" creationId="{858D5535-5B5B-457F-83FA-4374E2CBE1FF}"/>
          </ac:spMkLst>
        </pc:spChg>
        <pc:spChg chg="mod">
          <ac:chgData name="Scott Farkas" userId="9a0b927d-5f50-445c-b573-80e669c03572" providerId="ADAL" clId="{66E404DE-8FD7-4064-B002-2A0D82B89909}" dt="2023-12-18T16:41:23.050" v="126" actId="20577"/>
          <ac:spMkLst>
            <pc:docMk/>
            <pc:sldMk cId="448232790" sldId="318"/>
            <ac:spMk id="4" creationId="{A525F79B-6494-CD9C-2A43-CC8A7CAE1F77}"/>
          </ac:spMkLst>
        </pc:spChg>
        <pc:spChg chg="ord">
          <ac:chgData name="Scott Farkas" userId="9a0b927d-5f50-445c-b573-80e669c03572" providerId="ADAL" clId="{66E404DE-8FD7-4064-B002-2A0D82B89909}" dt="2023-12-18T16:34:54.864" v="3" actId="26606"/>
          <ac:spMkLst>
            <pc:docMk/>
            <pc:sldMk cId="448232790" sldId="318"/>
            <ac:spMk id="8" creationId="{F3758A96-34D9-434F-87A7-4CCB2B2C07B5}"/>
          </ac:spMkLst>
        </pc:spChg>
        <pc:spChg chg="ord">
          <ac:chgData name="Scott Farkas" userId="9a0b927d-5f50-445c-b573-80e669c03572" providerId="ADAL" clId="{66E404DE-8FD7-4064-B002-2A0D82B89909}" dt="2023-12-18T16:34:54.864" v="3" actId="26606"/>
          <ac:spMkLst>
            <pc:docMk/>
            <pc:sldMk cId="448232790" sldId="318"/>
            <ac:spMk id="9" creationId="{74441159-E36B-40F5-B9EB-76A1EBD38F1F}"/>
          </ac:spMkLst>
        </pc:spChg>
        <pc:spChg chg="mod">
          <ac:chgData name="Scott Farkas" userId="9a0b927d-5f50-445c-b573-80e669c03572" providerId="ADAL" clId="{66E404DE-8FD7-4064-B002-2A0D82B89909}" dt="2023-12-18T16:34:54.864" v="3" actId="26606"/>
          <ac:spMkLst>
            <pc:docMk/>
            <pc:sldMk cId="448232790" sldId="318"/>
            <ac:spMk id="12" creationId="{5D4A4F0A-2227-44EC-993C-CBE03597840E}"/>
          </ac:spMkLst>
        </pc:spChg>
        <pc:spChg chg="add">
          <ac:chgData name="Scott Farkas" userId="9a0b927d-5f50-445c-b573-80e669c03572" providerId="ADAL" clId="{66E404DE-8FD7-4064-B002-2A0D82B89909}" dt="2023-12-18T16:34:54.864" v="3" actId="26606"/>
          <ac:spMkLst>
            <pc:docMk/>
            <pc:sldMk cId="448232790" sldId="318"/>
            <ac:spMk id="17" creationId="{2B97F24A-32CE-4C1C-A50D-3016B394DCFB}"/>
          </ac:spMkLst>
        </pc:spChg>
        <pc:spChg chg="add">
          <ac:chgData name="Scott Farkas" userId="9a0b927d-5f50-445c-b573-80e669c03572" providerId="ADAL" clId="{66E404DE-8FD7-4064-B002-2A0D82B89909}" dt="2023-12-18T16:34:54.864" v="3" actId="26606"/>
          <ac:spMkLst>
            <pc:docMk/>
            <pc:sldMk cId="448232790" sldId="318"/>
            <ac:spMk id="19" creationId="{CD8B4F24-440B-49E9-B85D-733523DC064B}"/>
          </ac:spMkLst>
        </pc:spChg>
        <pc:picChg chg="del">
          <ac:chgData name="Scott Farkas" userId="9a0b927d-5f50-445c-b573-80e669c03572" providerId="ADAL" clId="{66E404DE-8FD7-4064-B002-2A0D82B89909}" dt="2023-12-18T16:34:23.595" v="0" actId="478"/>
          <ac:picMkLst>
            <pc:docMk/>
            <pc:sldMk cId="448232790" sldId="318"/>
            <ac:picMk id="5" creationId="{3CE1CA61-238A-01C4-2BB0-A0EEE1E796B2}"/>
          </ac:picMkLst>
        </pc:picChg>
        <pc:picChg chg="add del mod">
          <ac:chgData name="Scott Farkas" userId="9a0b927d-5f50-445c-b573-80e669c03572" providerId="ADAL" clId="{66E404DE-8FD7-4064-B002-2A0D82B89909}" dt="2023-12-18T16:35:04.399" v="4" actId="478"/>
          <ac:picMkLst>
            <pc:docMk/>
            <pc:sldMk cId="448232790" sldId="318"/>
            <ac:picMk id="6" creationId="{734A2B63-905E-A1FF-F0C3-6FFC6AEFD4E4}"/>
          </ac:picMkLst>
        </pc:picChg>
        <pc:picChg chg="add mod">
          <ac:chgData name="Scott Farkas" userId="9a0b927d-5f50-445c-b573-80e669c03572" providerId="ADAL" clId="{66E404DE-8FD7-4064-B002-2A0D82B89909}" dt="2023-12-18T16:36:41.261" v="8" actId="1076"/>
          <ac:picMkLst>
            <pc:docMk/>
            <pc:sldMk cId="448232790" sldId="318"/>
            <ac:picMk id="10" creationId="{5CDF870B-467C-7059-9A27-33E6289FD3F3}"/>
          </ac:picMkLst>
        </pc:picChg>
      </pc:sldChg>
      <pc:sldChg chg="modSp mod">
        <pc:chgData name="Scott Farkas" userId="9a0b927d-5f50-445c-b573-80e669c03572" providerId="ADAL" clId="{66E404DE-8FD7-4064-B002-2A0D82B89909}" dt="2023-12-18T17:27:34.830" v="135" actId="13926"/>
        <pc:sldMkLst>
          <pc:docMk/>
          <pc:sldMk cId="851477485" sldId="340"/>
        </pc:sldMkLst>
        <pc:spChg chg="mod">
          <ac:chgData name="Scott Farkas" userId="9a0b927d-5f50-445c-b573-80e669c03572" providerId="ADAL" clId="{66E404DE-8FD7-4064-B002-2A0D82B89909}" dt="2023-12-18T17:27:34.830" v="135" actId="13926"/>
          <ac:spMkLst>
            <pc:docMk/>
            <pc:sldMk cId="851477485" sldId="340"/>
            <ac:spMk id="4" creationId="{A58D9A61-4065-8E2F-3748-B4809D8C9F39}"/>
          </ac:spMkLst>
        </pc:spChg>
      </pc:sldChg>
      <pc:sldChg chg="add del">
        <pc:chgData name="Scott Farkas" userId="9a0b927d-5f50-445c-b573-80e669c03572" providerId="ADAL" clId="{66E404DE-8FD7-4064-B002-2A0D82B89909}" dt="2023-12-18T17:01:06.755" v="128" actId="47"/>
        <pc:sldMkLst>
          <pc:docMk/>
          <pc:sldMk cId="2953367882" sldId="344"/>
        </pc:sldMkLst>
      </pc:sldChg>
      <pc:sldChg chg="add del replId">
        <pc:chgData name="Scott Farkas" userId="9a0b927d-5f50-445c-b573-80e669c03572" providerId="ADAL" clId="{66E404DE-8FD7-4064-B002-2A0D82B89909}" dt="2023-12-18T17:01:09.313" v="129" actId="47"/>
        <pc:sldMkLst>
          <pc:docMk/>
          <pc:sldMk cId="3365891736" sldId="34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281D3EA-593C-4824-9BCE-773226B2F0AB}"/>
              </a:ext>
            </a:extLst>
          </p:cNvPr>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a:extLst>
              <a:ext uri="{FF2B5EF4-FFF2-40B4-BE49-F238E27FC236}">
                <a16:creationId xmlns:a16="http://schemas.microsoft.com/office/drawing/2014/main" id="{92C0D21D-19B4-4BCE-A0ED-CBECD5D05409}"/>
              </a:ext>
            </a:extLst>
          </p:cNvPr>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178CA25B-9C69-49B1-9506-D7CEB0BAB650}" type="datetimeFigureOut">
              <a:rPr lang="en-US" smtClean="0"/>
              <a:t>2/21/2024</a:t>
            </a:fld>
            <a:endParaRPr lang="en-US"/>
          </a:p>
        </p:txBody>
      </p:sp>
      <p:sp>
        <p:nvSpPr>
          <p:cNvPr id="4" name="Footer Placeholder 3">
            <a:extLst>
              <a:ext uri="{FF2B5EF4-FFF2-40B4-BE49-F238E27FC236}">
                <a16:creationId xmlns:a16="http://schemas.microsoft.com/office/drawing/2014/main" id="{465DE789-C6CB-446E-A5BF-36D54B404DA9}"/>
              </a:ext>
            </a:extLst>
          </p:cNvPr>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B94976A-101C-40C7-AF6D-9C1C9CDEA9ED}"/>
              </a:ext>
            </a:extLst>
          </p:cNvPr>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EE86FA51-ACF1-4425-9645-86388BEFCA1B}" type="slidenum">
              <a:rPr lang="en-US" smtClean="0"/>
              <a:t>‹#›</a:t>
            </a:fld>
            <a:endParaRPr lang="en-US"/>
          </a:p>
        </p:txBody>
      </p:sp>
    </p:spTree>
    <p:extLst>
      <p:ext uri="{BB962C8B-B14F-4D97-AF65-F5344CB8AC3E}">
        <p14:creationId xmlns:p14="http://schemas.microsoft.com/office/powerpoint/2010/main" val="37593140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4755B669-D8D8-4C46-B768-3B5E6CD45DCA}" type="datetimeFigureOut">
              <a:rPr lang="en-US" smtClean="0"/>
              <a:t>2/21/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F664DAC2-CF6A-4091-A575-0FB14F7C2A15}" type="slidenum">
              <a:rPr lang="en-US" smtClean="0"/>
              <a:t>‹#›</a:t>
            </a:fld>
            <a:endParaRPr lang="en-US"/>
          </a:p>
        </p:txBody>
      </p:sp>
    </p:spTree>
    <p:extLst>
      <p:ext uri="{BB962C8B-B14F-4D97-AF65-F5344CB8AC3E}">
        <p14:creationId xmlns:p14="http://schemas.microsoft.com/office/powerpoint/2010/main" val="242733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64DAC2-CF6A-4091-A575-0FB14F7C2A15}" type="slidenum">
              <a:rPr lang="en-US" smtClean="0"/>
              <a:t>10</a:t>
            </a:fld>
            <a:endParaRPr lang="en-US"/>
          </a:p>
        </p:txBody>
      </p:sp>
    </p:spTree>
    <p:extLst>
      <p:ext uri="{BB962C8B-B14F-4D97-AF65-F5344CB8AC3E}">
        <p14:creationId xmlns:p14="http://schemas.microsoft.com/office/powerpoint/2010/main" val="6628357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326535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6900329B-1998-41B8-BB3C-2640FF777BFD}"/>
              </a:ext>
            </a:extLst>
          </p:cNvPr>
          <p:cNvGrpSpPr/>
          <p:nvPr userDrawn="1"/>
        </p:nvGrpSpPr>
        <p:grpSpPr>
          <a:xfrm>
            <a:off x="6848475" y="0"/>
            <a:ext cx="5343525" cy="6867064"/>
            <a:chOff x="6848475" y="0"/>
            <a:chExt cx="5343525" cy="6867064"/>
          </a:xfrm>
        </p:grpSpPr>
        <p:sp>
          <p:nvSpPr>
            <p:cNvPr id="9" name="Graphic 4">
              <a:extLst>
                <a:ext uri="{FF2B5EF4-FFF2-40B4-BE49-F238E27FC236}">
                  <a16:creationId xmlns:a16="http://schemas.microsoft.com/office/drawing/2014/main" id="{EC11A0F8-F1FF-4155-B7A4-78A537E27252}"/>
                </a:ext>
              </a:extLst>
            </p:cNvPr>
            <p:cNvSpPr/>
            <p:nvPr userDrawn="1"/>
          </p:nvSpPr>
          <p:spPr>
            <a:xfrm>
              <a:off x="7902567" y="982992"/>
              <a:ext cx="4289433" cy="5883299"/>
            </a:xfrm>
            <a:custGeom>
              <a:avLst/>
              <a:gdLst>
                <a:gd name="connsiteX0" fmla="*/ 0 w 3209348"/>
                <a:gd name="connsiteY0" fmla="*/ 4399598 h 4401876"/>
                <a:gd name="connsiteX1" fmla="*/ 16193 w 3209348"/>
                <a:gd name="connsiteY1" fmla="*/ 4382453 h 4401876"/>
                <a:gd name="connsiteX2" fmla="*/ 340995 w 3209348"/>
                <a:gd name="connsiteY2" fmla="*/ 4053840 h 4401876"/>
                <a:gd name="connsiteX3" fmla="*/ 903923 w 3209348"/>
                <a:gd name="connsiteY3" fmla="*/ 3359468 h 4401876"/>
                <a:gd name="connsiteX4" fmla="*/ 1434465 w 3209348"/>
                <a:gd name="connsiteY4" fmla="*/ 2547938 h 4401876"/>
                <a:gd name="connsiteX5" fmla="*/ 1902143 w 3209348"/>
                <a:gd name="connsiteY5" fmla="*/ 1765935 h 4401876"/>
                <a:gd name="connsiteX6" fmla="*/ 2466023 w 3209348"/>
                <a:gd name="connsiteY6" fmla="*/ 890588 h 4401876"/>
                <a:gd name="connsiteX7" fmla="*/ 3135630 w 3209348"/>
                <a:gd name="connsiteY7" fmla="*/ 71438 h 4401876"/>
                <a:gd name="connsiteX8" fmla="*/ 3195638 w 3209348"/>
                <a:gd name="connsiteY8" fmla="*/ 10478 h 4401876"/>
                <a:gd name="connsiteX9" fmla="*/ 3206115 w 3209348"/>
                <a:gd name="connsiteY9" fmla="*/ 0 h 4401876"/>
                <a:gd name="connsiteX10" fmla="*/ 3208973 w 3209348"/>
                <a:gd name="connsiteY10" fmla="*/ 16193 h 4401876"/>
                <a:gd name="connsiteX11" fmla="*/ 3208973 w 3209348"/>
                <a:gd name="connsiteY11" fmla="*/ 146685 h 4401876"/>
                <a:gd name="connsiteX12" fmla="*/ 3199448 w 3209348"/>
                <a:gd name="connsiteY12" fmla="*/ 171450 h 4401876"/>
                <a:gd name="connsiteX13" fmla="*/ 2366010 w 3209348"/>
                <a:gd name="connsiteY13" fmla="*/ 1241108 h 4401876"/>
                <a:gd name="connsiteX14" fmla="*/ 1840230 w 3209348"/>
                <a:gd name="connsiteY14" fmla="*/ 2091690 h 4401876"/>
                <a:gd name="connsiteX15" fmla="*/ 1350645 w 3209348"/>
                <a:gd name="connsiteY15" fmla="*/ 2899410 h 4401876"/>
                <a:gd name="connsiteX16" fmla="*/ 833438 w 3209348"/>
                <a:gd name="connsiteY16" fmla="*/ 3646170 h 4401876"/>
                <a:gd name="connsiteX17" fmla="*/ 269558 w 3209348"/>
                <a:gd name="connsiteY17" fmla="*/ 4292918 h 4401876"/>
                <a:gd name="connsiteX18" fmla="*/ 173355 w 3209348"/>
                <a:gd name="connsiteY18" fmla="*/ 4389120 h 4401876"/>
                <a:gd name="connsiteX19" fmla="*/ 146685 w 3209348"/>
                <a:gd name="connsiteY19" fmla="*/ 4400550 h 4401876"/>
                <a:gd name="connsiteX20" fmla="*/ 14288 w 3209348"/>
                <a:gd name="connsiteY20" fmla="*/ 4400550 h 4401876"/>
                <a:gd name="connsiteX21" fmla="*/ 0 w 3209348"/>
                <a:gd name="connsiteY21" fmla="*/ 4399598 h 440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09348" h="4401876">
                  <a:moveTo>
                    <a:pt x="0" y="4399598"/>
                  </a:moveTo>
                  <a:cubicBezTo>
                    <a:pt x="2858" y="4391978"/>
                    <a:pt x="10478" y="4387215"/>
                    <a:pt x="16193" y="4382453"/>
                  </a:cubicBezTo>
                  <a:cubicBezTo>
                    <a:pt x="126683" y="4275773"/>
                    <a:pt x="236220" y="4166235"/>
                    <a:pt x="340995" y="4053840"/>
                  </a:cubicBezTo>
                  <a:cubicBezTo>
                    <a:pt x="543878" y="3834765"/>
                    <a:pt x="729615" y="3602355"/>
                    <a:pt x="903923" y="3359468"/>
                  </a:cubicBezTo>
                  <a:cubicBezTo>
                    <a:pt x="1092518" y="3096578"/>
                    <a:pt x="1265873" y="2824163"/>
                    <a:pt x="1434465" y="2547938"/>
                  </a:cubicBezTo>
                  <a:cubicBezTo>
                    <a:pt x="1592580" y="2288858"/>
                    <a:pt x="1744980" y="2025968"/>
                    <a:pt x="1902143" y="1765935"/>
                  </a:cubicBezTo>
                  <a:cubicBezTo>
                    <a:pt x="2081213" y="1468755"/>
                    <a:pt x="2265998" y="1174433"/>
                    <a:pt x="2466023" y="890588"/>
                  </a:cubicBezTo>
                  <a:cubicBezTo>
                    <a:pt x="2669858" y="601980"/>
                    <a:pt x="2889885" y="325755"/>
                    <a:pt x="3135630" y="71438"/>
                  </a:cubicBezTo>
                  <a:cubicBezTo>
                    <a:pt x="3155633" y="51435"/>
                    <a:pt x="3175635" y="30480"/>
                    <a:pt x="3195638" y="10478"/>
                  </a:cubicBezTo>
                  <a:cubicBezTo>
                    <a:pt x="3199448" y="6668"/>
                    <a:pt x="3202305" y="3810"/>
                    <a:pt x="3206115" y="0"/>
                  </a:cubicBezTo>
                  <a:cubicBezTo>
                    <a:pt x="3210878" y="5715"/>
                    <a:pt x="3208973" y="11430"/>
                    <a:pt x="3208973" y="16193"/>
                  </a:cubicBezTo>
                  <a:cubicBezTo>
                    <a:pt x="3208973" y="60008"/>
                    <a:pt x="3208973" y="102870"/>
                    <a:pt x="3208973" y="146685"/>
                  </a:cubicBezTo>
                  <a:cubicBezTo>
                    <a:pt x="3208973" y="157163"/>
                    <a:pt x="3206115" y="164783"/>
                    <a:pt x="3199448" y="171450"/>
                  </a:cubicBezTo>
                  <a:cubicBezTo>
                    <a:pt x="2885123" y="500063"/>
                    <a:pt x="2615565" y="862965"/>
                    <a:pt x="2366010" y="1241108"/>
                  </a:cubicBezTo>
                  <a:cubicBezTo>
                    <a:pt x="2183130" y="1519238"/>
                    <a:pt x="2010727" y="1804988"/>
                    <a:pt x="1840230" y="2091690"/>
                  </a:cubicBezTo>
                  <a:cubicBezTo>
                    <a:pt x="1679258" y="2362200"/>
                    <a:pt x="1519238" y="2633663"/>
                    <a:pt x="1350645" y="2899410"/>
                  </a:cubicBezTo>
                  <a:cubicBezTo>
                    <a:pt x="1188720" y="3155633"/>
                    <a:pt x="1018223" y="3406140"/>
                    <a:pt x="833438" y="3646170"/>
                  </a:cubicBezTo>
                  <a:cubicBezTo>
                    <a:pt x="659130" y="3872865"/>
                    <a:pt x="472440" y="4090035"/>
                    <a:pt x="269558" y="4292918"/>
                  </a:cubicBezTo>
                  <a:cubicBezTo>
                    <a:pt x="237173" y="4325303"/>
                    <a:pt x="204788" y="4356735"/>
                    <a:pt x="173355" y="4389120"/>
                  </a:cubicBezTo>
                  <a:cubicBezTo>
                    <a:pt x="165735" y="4396740"/>
                    <a:pt x="158115" y="4400550"/>
                    <a:pt x="146685" y="4400550"/>
                  </a:cubicBezTo>
                  <a:cubicBezTo>
                    <a:pt x="102870" y="4399598"/>
                    <a:pt x="58103" y="4400550"/>
                    <a:pt x="14288" y="4400550"/>
                  </a:cubicBezTo>
                  <a:cubicBezTo>
                    <a:pt x="8573" y="4401503"/>
                    <a:pt x="4763" y="4403408"/>
                    <a:pt x="0" y="4399598"/>
                  </a:cubicBezTo>
                  <a:close/>
                </a:path>
              </a:pathLst>
            </a:custGeom>
            <a:solidFill>
              <a:srgbClr val="013061"/>
            </a:solid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BCFC1C77-8951-4094-959D-12B1EBABBA9A}"/>
                </a:ext>
              </a:extLst>
            </p:cNvPr>
            <p:cNvSpPr/>
            <p:nvPr userDrawn="1"/>
          </p:nvSpPr>
          <p:spPr>
            <a:xfrm>
              <a:off x="7684873" y="453400"/>
              <a:ext cx="4505758" cy="6412391"/>
            </a:xfrm>
            <a:custGeom>
              <a:avLst/>
              <a:gdLst>
                <a:gd name="connsiteX0" fmla="*/ 0 w 3371202"/>
                <a:gd name="connsiteY0" fmla="*/ 4797743 h 4797742"/>
                <a:gd name="connsiteX1" fmla="*/ 5715 w 3371202"/>
                <a:gd name="connsiteY1" fmla="*/ 4786313 h 4797742"/>
                <a:gd name="connsiteX2" fmla="*/ 811530 w 3371202"/>
                <a:gd name="connsiteY2" fmla="*/ 3765233 h 4797742"/>
                <a:gd name="connsiteX3" fmla="*/ 1219200 w 3371202"/>
                <a:gd name="connsiteY3" fmla="*/ 3078480 h 4797742"/>
                <a:gd name="connsiteX4" fmla="*/ 1683068 w 3371202"/>
                <a:gd name="connsiteY4" fmla="*/ 2219325 h 4797742"/>
                <a:gd name="connsiteX5" fmla="*/ 2195513 w 3371202"/>
                <a:gd name="connsiteY5" fmla="*/ 1343025 h 4797742"/>
                <a:gd name="connsiteX6" fmla="*/ 2823210 w 3371202"/>
                <a:gd name="connsiteY6" fmla="*/ 513398 h 4797742"/>
                <a:gd name="connsiteX7" fmla="*/ 3359468 w 3371202"/>
                <a:gd name="connsiteY7" fmla="*/ 5715 h 4797742"/>
                <a:gd name="connsiteX8" fmla="*/ 3367088 w 3371202"/>
                <a:gd name="connsiteY8" fmla="*/ 0 h 4797742"/>
                <a:gd name="connsiteX9" fmla="*/ 3370898 w 3371202"/>
                <a:gd name="connsiteY9" fmla="*/ 11430 h 4797742"/>
                <a:gd name="connsiteX10" fmla="*/ 3370898 w 3371202"/>
                <a:gd name="connsiteY10" fmla="*/ 117158 h 4797742"/>
                <a:gd name="connsiteX11" fmla="*/ 3358515 w 3371202"/>
                <a:gd name="connsiteY11" fmla="*/ 144780 h 4797742"/>
                <a:gd name="connsiteX12" fmla="*/ 3085148 w 3371202"/>
                <a:gd name="connsiteY12" fmla="*/ 393383 h 4797742"/>
                <a:gd name="connsiteX13" fmla="*/ 2723198 w 3371202"/>
                <a:gd name="connsiteY13" fmla="*/ 793433 h 4797742"/>
                <a:gd name="connsiteX14" fmla="*/ 2179320 w 3371202"/>
                <a:gd name="connsiteY14" fmla="*/ 1567815 h 4797742"/>
                <a:gd name="connsiteX15" fmla="*/ 1689735 w 3371202"/>
                <a:gd name="connsiteY15" fmla="*/ 2429828 h 4797742"/>
                <a:gd name="connsiteX16" fmla="*/ 1235393 w 3371202"/>
                <a:gd name="connsiteY16" fmla="*/ 3266123 h 4797742"/>
                <a:gd name="connsiteX17" fmla="*/ 704850 w 3371202"/>
                <a:gd name="connsiteY17" fmla="*/ 4112895 h 4797742"/>
                <a:gd name="connsiteX18" fmla="*/ 160973 w 3371202"/>
                <a:gd name="connsiteY18" fmla="*/ 4778693 h 4797742"/>
                <a:gd name="connsiteX19" fmla="*/ 119063 w 3371202"/>
                <a:gd name="connsiteY19" fmla="*/ 4796790 h 4797742"/>
                <a:gd name="connsiteX20" fmla="*/ 0 w 3371202"/>
                <a:gd name="connsiteY20" fmla="*/ 4797743 h 479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71202" h="4797742">
                  <a:moveTo>
                    <a:pt x="0" y="4797743"/>
                  </a:moveTo>
                  <a:cubicBezTo>
                    <a:pt x="0" y="4791075"/>
                    <a:pt x="3810" y="4789170"/>
                    <a:pt x="5715" y="4786313"/>
                  </a:cubicBezTo>
                  <a:cubicBezTo>
                    <a:pt x="311468" y="4475798"/>
                    <a:pt x="575310" y="4130993"/>
                    <a:pt x="811530" y="3765233"/>
                  </a:cubicBezTo>
                  <a:cubicBezTo>
                    <a:pt x="956310" y="3541395"/>
                    <a:pt x="1090613" y="3310890"/>
                    <a:pt x="1219200" y="3078480"/>
                  </a:cubicBezTo>
                  <a:cubicBezTo>
                    <a:pt x="1377315" y="2793683"/>
                    <a:pt x="1527810" y="2505075"/>
                    <a:pt x="1683068" y="2219325"/>
                  </a:cubicBezTo>
                  <a:cubicBezTo>
                    <a:pt x="1844992" y="1922145"/>
                    <a:pt x="2011680" y="1627823"/>
                    <a:pt x="2195513" y="1343025"/>
                  </a:cubicBezTo>
                  <a:cubicBezTo>
                    <a:pt x="2384108" y="1050608"/>
                    <a:pt x="2589848" y="771525"/>
                    <a:pt x="2823210" y="513398"/>
                  </a:cubicBezTo>
                  <a:cubicBezTo>
                    <a:pt x="2988945" y="330518"/>
                    <a:pt x="3168968" y="161925"/>
                    <a:pt x="3359468" y="5715"/>
                  </a:cubicBezTo>
                  <a:cubicBezTo>
                    <a:pt x="3361373" y="3810"/>
                    <a:pt x="3364230" y="1905"/>
                    <a:pt x="3367088" y="0"/>
                  </a:cubicBezTo>
                  <a:cubicBezTo>
                    <a:pt x="3372803" y="2858"/>
                    <a:pt x="3370898" y="7620"/>
                    <a:pt x="3370898" y="11430"/>
                  </a:cubicBezTo>
                  <a:cubicBezTo>
                    <a:pt x="3370898" y="46673"/>
                    <a:pt x="3370898" y="81915"/>
                    <a:pt x="3370898" y="117158"/>
                  </a:cubicBezTo>
                  <a:cubicBezTo>
                    <a:pt x="3370898" y="128588"/>
                    <a:pt x="3368040" y="137160"/>
                    <a:pt x="3358515" y="144780"/>
                  </a:cubicBezTo>
                  <a:cubicBezTo>
                    <a:pt x="3264218" y="224790"/>
                    <a:pt x="3173730" y="306705"/>
                    <a:pt x="3085148" y="393383"/>
                  </a:cubicBezTo>
                  <a:cubicBezTo>
                    <a:pt x="2956560" y="520065"/>
                    <a:pt x="2837498" y="654368"/>
                    <a:pt x="2723198" y="793433"/>
                  </a:cubicBezTo>
                  <a:cubicBezTo>
                    <a:pt x="2523173" y="1038225"/>
                    <a:pt x="2345055" y="1298258"/>
                    <a:pt x="2179320" y="1567815"/>
                  </a:cubicBezTo>
                  <a:cubicBezTo>
                    <a:pt x="2005965" y="1849755"/>
                    <a:pt x="1845945" y="2139315"/>
                    <a:pt x="1689735" y="2429828"/>
                  </a:cubicBezTo>
                  <a:cubicBezTo>
                    <a:pt x="1539240" y="2709863"/>
                    <a:pt x="1391603" y="2989898"/>
                    <a:pt x="1235393" y="3266123"/>
                  </a:cubicBezTo>
                  <a:cubicBezTo>
                    <a:pt x="1071563" y="3556635"/>
                    <a:pt x="897255" y="3840480"/>
                    <a:pt x="704850" y="4112895"/>
                  </a:cubicBezTo>
                  <a:cubicBezTo>
                    <a:pt x="538163" y="4347210"/>
                    <a:pt x="359093" y="4570095"/>
                    <a:pt x="160973" y="4778693"/>
                  </a:cubicBezTo>
                  <a:cubicBezTo>
                    <a:pt x="148590" y="4791075"/>
                    <a:pt x="137160" y="4797743"/>
                    <a:pt x="119063" y="4796790"/>
                  </a:cubicBezTo>
                  <a:cubicBezTo>
                    <a:pt x="79058" y="4796790"/>
                    <a:pt x="40005" y="4797743"/>
                    <a:pt x="0" y="4797743"/>
                  </a:cubicBezTo>
                  <a:close/>
                </a:path>
              </a:pathLst>
            </a:custGeom>
            <a:solidFill>
              <a:srgbClr val="013061"/>
            </a:solid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D1616DEE-CFDB-4764-8A14-19D11EEAC918}"/>
                </a:ext>
              </a:extLst>
            </p:cNvPr>
            <p:cNvSpPr/>
            <p:nvPr userDrawn="1"/>
          </p:nvSpPr>
          <p:spPr>
            <a:xfrm>
              <a:off x="9388989" y="3604536"/>
              <a:ext cx="2799962" cy="3262528"/>
            </a:xfrm>
            <a:custGeom>
              <a:avLst/>
              <a:gdLst>
                <a:gd name="connsiteX0" fmla="*/ 2094928 w 2094928"/>
                <a:gd name="connsiteY0" fmla="*/ 714 h 2441019"/>
                <a:gd name="connsiteX1" fmla="*/ 2094928 w 2094928"/>
                <a:gd name="connsiteY1" fmla="*/ 15954 h 2441019"/>
                <a:gd name="connsiteX2" fmla="*/ 2094928 w 2094928"/>
                <a:gd name="connsiteY2" fmla="*/ 286464 h 2441019"/>
                <a:gd name="connsiteX3" fmla="*/ 2085403 w 2094928"/>
                <a:gd name="connsiteY3" fmla="*/ 315992 h 2441019"/>
                <a:gd name="connsiteX4" fmla="*/ 1470088 w 2094928"/>
                <a:gd name="connsiteY4" fmla="*/ 1082754 h 2441019"/>
                <a:gd name="connsiteX5" fmla="*/ 748093 w 2094928"/>
                <a:gd name="connsiteY5" fmla="*/ 1942862 h 2441019"/>
                <a:gd name="connsiteX6" fmla="*/ 288988 w 2094928"/>
                <a:gd name="connsiteY6" fmla="*/ 2428637 h 2441019"/>
                <a:gd name="connsiteX7" fmla="*/ 259461 w 2094928"/>
                <a:gd name="connsiteY7" fmla="*/ 2441020 h 2441019"/>
                <a:gd name="connsiteX8" fmla="*/ 14668 w 2094928"/>
                <a:gd name="connsiteY8" fmla="*/ 2441020 h 2441019"/>
                <a:gd name="connsiteX9" fmla="*/ 381 w 2094928"/>
                <a:gd name="connsiteY9" fmla="*/ 2441020 h 2441019"/>
                <a:gd name="connsiteX10" fmla="*/ 7048 w 2094928"/>
                <a:gd name="connsiteY10" fmla="*/ 2429590 h 2441019"/>
                <a:gd name="connsiteX11" fmla="*/ 958596 w 2094928"/>
                <a:gd name="connsiteY11" fmla="*/ 1398984 h 2441019"/>
                <a:gd name="connsiteX12" fmla="*/ 1615821 w 2094928"/>
                <a:gd name="connsiteY12" fmla="*/ 586502 h 2441019"/>
                <a:gd name="connsiteX13" fmla="*/ 2072068 w 2094928"/>
                <a:gd name="connsiteY13" fmla="*/ 24527 h 2441019"/>
                <a:gd name="connsiteX14" fmla="*/ 2092071 w 2094928"/>
                <a:gd name="connsiteY14" fmla="*/ 714 h 2441019"/>
                <a:gd name="connsiteX15" fmla="*/ 2094928 w 2094928"/>
                <a:gd name="connsiteY15" fmla="*/ 714 h 24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94928" h="2441019">
                  <a:moveTo>
                    <a:pt x="2094928" y="714"/>
                  </a:moveTo>
                  <a:cubicBezTo>
                    <a:pt x="2094928" y="5477"/>
                    <a:pt x="2094928" y="11192"/>
                    <a:pt x="2094928" y="15954"/>
                  </a:cubicBezTo>
                  <a:cubicBezTo>
                    <a:pt x="2094928" y="106442"/>
                    <a:pt x="2094928" y="196929"/>
                    <a:pt x="2094928" y="286464"/>
                  </a:cubicBezTo>
                  <a:cubicBezTo>
                    <a:pt x="2094928" y="297894"/>
                    <a:pt x="2092071" y="306467"/>
                    <a:pt x="2085403" y="315992"/>
                  </a:cubicBezTo>
                  <a:cubicBezTo>
                    <a:pt x="1877758" y="569357"/>
                    <a:pt x="1674876" y="826532"/>
                    <a:pt x="1470088" y="1082754"/>
                  </a:cubicBezTo>
                  <a:cubicBezTo>
                    <a:pt x="1235774" y="1375172"/>
                    <a:pt x="997649" y="1663779"/>
                    <a:pt x="748093" y="1942862"/>
                  </a:cubicBezTo>
                  <a:cubicBezTo>
                    <a:pt x="599503" y="2108597"/>
                    <a:pt x="446151" y="2271474"/>
                    <a:pt x="288988" y="2428637"/>
                  </a:cubicBezTo>
                  <a:cubicBezTo>
                    <a:pt x="280416" y="2437209"/>
                    <a:pt x="271843" y="2441020"/>
                    <a:pt x="259461" y="2441020"/>
                  </a:cubicBezTo>
                  <a:cubicBezTo>
                    <a:pt x="177546" y="2440067"/>
                    <a:pt x="96583" y="2441020"/>
                    <a:pt x="14668" y="2441020"/>
                  </a:cubicBezTo>
                  <a:cubicBezTo>
                    <a:pt x="9906" y="2441020"/>
                    <a:pt x="5143" y="2441020"/>
                    <a:pt x="381" y="2441020"/>
                  </a:cubicBezTo>
                  <a:cubicBezTo>
                    <a:pt x="-1524" y="2434352"/>
                    <a:pt x="4191" y="2432447"/>
                    <a:pt x="7048" y="2429590"/>
                  </a:cubicBezTo>
                  <a:cubicBezTo>
                    <a:pt x="345186" y="2105740"/>
                    <a:pt x="658558" y="1758077"/>
                    <a:pt x="958596" y="1398984"/>
                  </a:cubicBezTo>
                  <a:cubicBezTo>
                    <a:pt x="1182433" y="1131332"/>
                    <a:pt x="1398651" y="857964"/>
                    <a:pt x="1615821" y="586502"/>
                  </a:cubicBezTo>
                  <a:cubicBezTo>
                    <a:pt x="1766316" y="397907"/>
                    <a:pt x="1917763" y="210264"/>
                    <a:pt x="2072068" y="24527"/>
                  </a:cubicBezTo>
                  <a:cubicBezTo>
                    <a:pt x="2078736" y="16907"/>
                    <a:pt x="2085403" y="8334"/>
                    <a:pt x="2092071" y="714"/>
                  </a:cubicBezTo>
                  <a:cubicBezTo>
                    <a:pt x="2093024" y="-238"/>
                    <a:pt x="2093976" y="-238"/>
                    <a:pt x="2094928" y="714"/>
                  </a:cubicBezTo>
                  <a:close/>
                </a:path>
              </a:pathLst>
            </a:custGeom>
            <a:solidFill>
              <a:srgbClr val="013061"/>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93E4ED9-EEE0-4729-BDA7-5AAA716BF44F}"/>
                </a:ext>
              </a:extLst>
            </p:cNvPr>
            <p:cNvSpPr/>
            <p:nvPr userDrawn="1"/>
          </p:nvSpPr>
          <p:spPr>
            <a:xfrm>
              <a:off x="8322676" y="1753192"/>
              <a:ext cx="3867690" cy="5113431"/>
            </a:xfrm>
            <a:custGeom>
              <a:avLst/>
              <a:gdLst>
                <a:gd name="connsiteX0" fmla="*/ 2890838 w 2893800"/>
                <a:gd name="connsiteY0" fmla="*/ 0 h 3825862"/>
                <a:gd name="connsiteX1" fmla="*/ 2893695 w 2893800"/>
                <a:gd name="connsiteY1" fmla="*/ 14288 h 3825862"/>
                <a:gd name="connsiteX2" fmla="*/ 2893695 w 2893800"/>
                <a:gd name="connsiteY2" fmla="*/ 163830 h 3825862"/>
                <a:gd name="connsiteX3" fmla="*/ 2884170 w 2893800"/>
                <a:gd name="connsiteY3" fmla="*/ 189548 h 3825862"/>
                <a:gd name="connsiteX4" fmla="*/ 2091690 w 2893800"/>
                <a:gd name="connsiteY4" fmla="*/ 1199198 h 3825862"/>
                <a:gd name="connsiteX5" fmla="*/ 1555433 w 2893800"/>
                <a:gd name="connsiteY5" fmla="*/ 2002155 h 3825862"/>
                <a:gd name="connsiteX6" fmla="*/ 1035368 w 2893800"/>
                <a:gd name="connsiteY6" fmla="*/ 2769870 h 3825862"/>
                <a:gd name="connsiteX7" fmla="*/ 408623 w 2893800"/>
                <a:gd name="connsiteY7" fmla="*/ 3566160 h 3825862"/>
                <a:gd name="connsiteX8" fmla="*/ 181928 w 2893800"/>
                <a:gd name="connsiteY8" fmla="*/ 3812858 h 3825862"/>
                <a:gd name="connsiteX9" fmla="*/ 152400 w 2893800"/>
                <a:gd name="connsiteY9" fmla="*/ 3825240 h 3825862"/>
                <a:gd name="connsiteX10" fmla="*/ 14288 w 2893800"/>
                <a:gd name="connsiteY10" fmla="*/ 3825240 h 3825862"/>
                <a:gd name="connsiteX11" fmla="*/ 0 w 2893800"/>
                <a:gd name="connsiteY11" fmla="*/ 3824288 h 3825862"/>
                <a:gd name="connsiteX12" fmla="*/ 7620 w 2893800"/>
                <a:gd name="connsiteY12" fmla="*/ 3813810 h 3825862"/>
                <a:gd name="connsiteX13" fmla="*/ 834390 w 2893800"/>
                <a:gd name="connsiteY13" fmla="*/ 2837498 h 3825862"/>
                <a:gd name="connsiteX14" fmla="*/ 1360170 w 2893800"/>
                <a:gd name="connsiteY14" fmla="*/ 2075498 h 3825862"/>
                <a:gd name="connsiteX15" fmla="*/ 1908810 w 2893800"/>
                <a:gd name="connsiteY15" fmla="*/ 1248727 h 3825862"/>
                <a:gd name="connsiteX16" fmla="*/ 2476500 w 2893800"/>
                <a:gd name="connsiteY16" fmla="*/ 477203 h 3825862"/>
                <a:gd name="connsiteX17" fmla="*/ 2876550 w 2893800"/>
                <a:gd name="connsiteY17" fmla="*/ 17145 h 3825862"/>
                <a:gd name="connsiteX18" fmla="*/ 2890838 w 2893800"/>
                <a:gd name="connsiteY18" fmla="*/ 0 h 382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93800" h="3825862">
                  <a:moveTo>
                    <a:pt x="2890838" y="0"/>
                  </a:moveTo>
                  <a:cubicBezTo>
                    <a:pt x="2894648" y="5715"/>
                    <a:pt x="2893695" y="9525"/>
                    <a:pt x="2893695" y="14288"/>
                  </a:cubicBezTo>
                  <a:cubicBezTo>
                    <a:pt x="2893695" y="63817"/>
                    <a:pt x="2893695" y="114300"/>
                    <a:pt x="2893695" y="163830"/>
                  </a:cubicBezTo>
                  <a:cubicBezTo>
                    <a:pt x="2893695" y="174308"/>
                    <a:pt x="2890838" y="181928"/>
                    <a:pt x="2884170" y="189548"/>
                  </a:cubicBezTo>
                  <a:cubicBezTo>
                    <a:pt x="2595563" y="506730"/>
                    <a:pt x="2337435" y="847725"/>
                    <a:pt x="2091690" y="1199198"/>
                  </a:cubicBezTo>
                  <a:cubicBezTo>
                    <a:pt x="1907858" y="1463040"/>
                    <a:pt x="1731645" y="1732598"/>
                    <a:pt x="1555433" y="2002155"/>
                  </a:cubicBezTo>
                  <a:cubicBezTo>
                    <a:pt x="1385888" y="2260283"/>
                    <a:pt x="1214438" y="2518410"/>
                    <a:pt x="1035368" y="2769870"/>
                  </a:cubicBezTo>
                  <a:cubicBezTo>
                    <a:pt x="839153" y="3045143"/>
                    <a:pt x="632460" y="3311843"/>
                    <a:pt x="408623" y="3566160"/>
                  </a:cubicBezTo>
                  <a:cubicBezTo>
                    <a:pt x="334328" y="3649980"/>
                    <a:pt x="259080" y="3731895"/>
                    <a:pt x="181928" y="3812858"/>
                  </a:cubicBezTo>
                  <a:cubicBezTo>
                    <a:pt x="173355" y="3821430"/>
                    <a:pt x="164783" y="3826193"/>
                    <a:pt x="152400" y="3825240"/>
                  </a:cubicBezTo>
                  <a:cubicBezTo>
                    <a:pt x="106680" y="3824288"/>
                    <a:pt x="60008" y="3825240"/>
                    <a:pt x="14288" y="3825240"/>
                  </a:cubicBezTo>
                  <a:cubicBezTo>
                    <a:pt x="9525" y="3825240"/>
                    <a:pt x="4763" y="3827145"/>
                    <a:pt x="0" y="3824288"/>
                  </a:cubicBezTo>
                  <a:cubicBezTo>
                    <a:pt x="0" y="3818572"/>
                    <a:pt x="3810" y="3816668"/>
                    <a:pt x="7620" y="3813810"/>
                  </a:cubicBezTo>
                  <a:cubicBezTo>
                    <a:pt x="309563" y="3510915"/>
                    <a:pt x="581025" y="3181350"/>
                    <a:pt x="834390" y="2837498"/>
                  </a:cubicBezTo>
                  <a:cubicBezTo>
                    <a:pt x="1017270" y="2588895"/>
                    <a:pt x="1189673" y="2332673"/>
                    <a:pt x="1360170" y="2075498"/>
                  </a:cubicBezTo>
                  <a:cubicBezTo>
                    <a:pt x="1542098" y="1799273"/>
                    <a:pt x="1722120" y="1522095"/>
                    <a:pt x="1908810" y="1248727"/>
                  </a:cubicBezTo>
                  <a:cubicBezTo>
                    <a:pt x="2088833" y="984885"/>
                    <a:pt x="2276475" y="725805"/>
                    <a:pt x="2476500" y="477203"/>
                  </a:cubicBezTo>
                  <a:cubicBezTo>
                    <a:pt x="2604135" y="319088"/>
                    <a:pt x="2736533" y="164783"/>
                    <a:pt x="2876550" y="17145"/>
                  </a:cubicBezTo>
                  <a:cubicBezTo>
                    <a:pt x="2879408" y="10478"/>
                    <a:pt x="2885123" y="5715"/>
                    <a:pt x="2890838" y="0"/>
                  </a:cubicBezTo>
                  <a:close/>
                </a:path>
              </a:pathLst>
            </a:custGeom>
            <a:solidFill>
              <a:srgbClr val="013061"/>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E492B870-17D7-4881-8D3A-5C32272DA2FB}"/>
                </a:ext>
              </a:extLst>
            </p:cNvPr>
            <p:cNvSpPr/>
            <p:nvPr userDrawn="1"/>
          </p:nvSpPr>
          <p:spPr>
            <a:xfrm>
              <a:off x="8789887" y="2606141"/>
              <a:ext cx="3399470" cy="4259813"/>
            </a:xfrm>
            <a:custGeom>
              <a:avLst/>
              <a:gdLst>
                <a:gd name="connsiteX0" fmla="*/ 0 w 2543479"/>
                <a:gd name="connsiteY0" fmla="*/ 3184208 h 3187186"/>
                <a:gd name="connsiteX1" fmla="*/ 10478 w 2543479"/>
                <a:gd name="connsiteY1" fmla="*/ 3171825 h 3187186"/>
                <a:gd name="connsiteX2" fmla="*/ 903923 w 2543479"/>
                <a:gd name="connsiteY2" fmla="*/ 2152650 h 3187186"/>
                <a:gd name="connsiteX3" fmla="*/ 1514475 w 2543479"/>
                <a:gd name="connsiteY3" fmla="*/ 1329690 h 3187186"/>
                <a:gd name="connsiteX4" fmla="*/ 2121218 w 2543479"/>
                <a:gd name="connsiteY4" fmla="*/ 511492 h 3187186"/>
                <a:gd name="connsiteX5" fmla="*/ 2527935 w 2543479"/>
                <a:gd name="connsiteY5" fmla="*/ 12383 h 3187186"/>
                <a:gd name="connsiteX6" fmla="*/ 2539365 w 2543479"/>
                <a:gd name="connsiteY6" fmla="*/ 0 h 3187186"/>
                <a:gd name="connsiteX7" fmla="*/ 2543175 w 2543479"/>
                <a:gd name="connsiteY7" fmla="*/ 9525 h 3187186"/>
                <a:gd name="connsiteX8" fmla="*/ 2543175 w 2543479"/>
                <a:gd name="connsiteY8" fmla="*/ 202883 h 3187186"/>
                <a:gd name="connsiteX9" fmla="*/ 2530793 w 2543479"/>
                <a:gd name="connsiteY9" fmla="*/ 229553 h 3187186"/>
                <a:gd name="connsiteX10" fmla="*/ 2145983 w 2543479"/>
                <a:gd name="connsiteY10" fmla="*/ 712470 h 3187186"/>
                <a:gd name="connsiteX11" fmla="*/ 1593533 w 2543479"/>
                <a:gd name="connsiteY11" fmla="*/ 1463040 h 3187186"/>
                <a:gd name="connsiteX12" fmla="*/ 1013460 w 2543479"/>
                <a:gd name="connsiteY12" fmla="*/ 2243138 h 3187186"/>
                <a:gd name="connsiteX13" fmla="*/ 315278 w 2543479"/>
                <a:gd name="connsiteY13" fmla="*/ 3063240 h 3187186"/>
                <a:gd name="connsiteX14" fmla="*/ 204788 w 2543479"/>
                <a:gd name="connsiteY14" fmla="*/ 3177540 h 3187186"/>
                <a:gd name="connsiteX15" fmla="*/ 185738 w 2543479"/>
                <a:gd name="connsiteY15" fmla="*/ 3187065 h 3187186"/>
                <a:gd name="connsiteX16" fmla="*/ 3810 w 2543479"/>
                <a:gd name="connsiteY16" fmla="*/ 3187065 h 3187186"/>
                <a:gd name="connsiteX17" fmla="*/ 0 w 2543479"/>
                <a:gd name="connsiteY17" fmla="*/ 3184208 h 318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3479" h="3187186">
                  <a:moveTo>
                    <a:pt x="0" y="3184208"/>
                  </a:moveTo>
                  <a:cubicBezTo>
                    <a:pt x="953" y="3178493"/>
                    <a:pt x="6668" y="3175635"/>
                    <a:pt x="10478" y="3171825"/>
                  </a:cubicBezTo>
                  <a:cubicBezTo>
                    <a:pt x="333375" y="2853690"/>
                    <a:pt x="626745" y="2509838"/>
                    <a:pt x="903923" y="2152650"/>
                  </a:cubicBezTo>
                  <a:cubicBezTo>
                    <a:pt x="1113473" y="1883093"/>
                    <a:pt x="1314450" y="1606868"/>
                    <a:pt x="1514475" y="1329690"/>
                  </a:cubicBezTo>
                  <a:cubicBezTo>
                    <a:pt x="1713548" y="1054418"/>
                    <a:pt x="1913573" y="779145"/>
                    <a:pt x="2121218" y="511492"/>
                  </a:cubicBezTo>
                  <a:cubicBezTo>
                    <a:pt x="2252663" y="341948"/>
                    <a:pt x="2387918" y="175260"/>
                    <a:pt x="2527935" y="12383"/>
                  </a:cubicBezTo>
                  <a:cubicBezTo>
                    <a:pt x="2531745" y="8573"/>
                    <a:pt x="2535555" y="3810"/>
                    <a:pt x="2539365" y="0"/>
                  </a:cubicBezTo>
                  <a:cubicBezTo>
                    <a:pt x="2545080" y="1905"/>
                    <a:pt x="2543175" y="6667"/>
                    <a:pt x="2543175" y="9525"/>
                  </a:cubicBezTo>
                  <a:cubicBezTo>
                    <a:pt x="2543175" y="74295"/>
                    <a:pt x="2543175" y="138113"/>
                    <a:pt x="2543175" y="202883"/>
                  </a:cubicBezTo>
                  <a:cubicBezTo>
                    <a:pt x="2543175" y="214313"/>
                    <a:pt x="2537460" y="221933"/>
                    <a:pt x="2530793" y="229553"/>
                  </a:cubicBezTo>
                  <a:cubicBezTo>
                    <a:pt x="2398395" y="387667"/>
                    <a:pt x="2270760" y="548640"/>
                    <a:pt x="2145983" y="712470"/>
                  </a:cubicBezTo>
                  <a:cubicBezTo>
                    <a:pt x="1957388" y="959168"/>
                    <a:pt x="1775460" y="1211580"/>
                    <a:pt x="1593533" y="1463040"/>
                  </a:cubicBezTo>
                  <a:cubicBezTo>
                    <a:pt x="1403985" y="1724977"/>
                    <a:pt x="1212533" y="1986915"/>
                    <a:pt x="1013460" y="2243138"/>
                  </a:cubicBezTo>
                  <a:cubicBezTo>
                    <a:pt x="792480" y="2526983"/>
                    <a:pt x="561975" y="2802255"/>
                    <a:pt x="315278" y="3063240"/>
                  </a:cubicBezTo>
                  <a:cubicBezTo>
                    <a:pt x="279083" y="3101340"/>
                    <a:pt x="241935" y="3139440"/>
                    <a:pt x="204788" y="3177540"/>
                  </a:cubicBezTo>
                  <a:cubicBezTo>
                    <a:pt x="199073" y="3183255"/>
                    <a:pt x="194310" y="3188018"/>
                    <a:pt x="185738" y="3187065"/>
                  </a:cubicBezTo>
                  <a:cubicBezTo>
                    <a:pt x="124778" y="3187065"/>
                    <a:pt x="64770" y="3187065"/>
                    <a:pt x="3810" y="3187065"/>
                  </a:cubicBezTo>
                  <a:cubicBezTo>
                    <a:pt x="2858" y="3187065"/>
                    <a:pt x="953" y="3187065"/>
                    <a:pt x="0" y="3184208"/>
                  </a:cubicBezTo>
                  <a:close/>
                </a:path>
              </a:pathLst>
            </a:custGeom>
            <a:solidFill>
              <a:srgbClr val="013061"/>
            </a:solid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6AA42364-CE6C-4CDD-842F-87DF787112F3}"/>
                </a:ext>
              </a:extLst>
            </p:cNvPr>
            <p:cNvSpPr/>
            <p:nvPr userDrawn="1"/>
          </p:nvSpPr>
          <p:spPr>
            <a:xfrm>
              <a:off x="7445538" y="191"/>
              <a:ext cx="4742523" cy="6865600"/>
            </a:xfrm>
            <a:custGeom>
              <a:avLst/>
              <a:gdLst>
                <a:gd name="connsiteX0" fmla="*/ 0 w 3548349"/>
                <a:gd name="connsiteY0" fmla="*/ 5136833 h 5136832"/>
                <a:gd name="connsiteX1" fmla="*/ 9525 w 3548349"/>
                <a:gd name="connsiteY1" fmla="*/ 5122545 h 5136832"/>
                <a:gd name="connsiteX2" fmla="*/ 846773 w 3548349"/>
                <a:gd name="connsiteY2" fmla="*/ 4016693 h 5136832"/>
                <a:gd name="connsiteX3" fmla="*/ 1269683 w 3548349"/>
                <a:gd name="connsiteY3" fmla="*/ 3229928 h 5136832"/>
                <a:gd name="connsiteX4" fmla="*/ 1701165 w 3548349"/>
                <a:gd name="connsiteY4" fmla="*/ 2339340 h 5136832"/>
                <a:gd name="connsiteX5" fmla="*/ 2195513 w 3548349"/>
                <a:gd name="connsiteY5" fmla="*/ 1425893 h 5136832"/>
                <a:gd name="connsiteX6" fmla="*/ 2766060 w 3548349"/>
                <a:gd name="connsiteY6" fmla="*/ 641033 h 5136832"/>
                <a:gd name="connsiteX7" fmla="*/ 3291840 w 3548349"/>
                <a:gd name="connsiteY7" fmla="*/ 136208 h 5136832"/>
                <a:gd name="connsiteX8" fmla="*/ 3449955 w 3548349"/>
                <a:gd name="connsiteY8" fmla="*/ 9525 h 5136832"/>
                <a:gd name="connsiteX9" fmla="*/ 3477578 w 3548349"/>
                <a:gd name="connsiteY9" fmla="*/ 0 h 5136832"/>
                <a:gd name="connsiteX10" fmla="*/ 3538538 w 3548349"/>
                <a:gd name="connsiteY10" fmla="*/ 0 h 5136832"/>
                <a:gd name="connsiteX11" fmla="*/ 3548063 w 3548349"/>
                <a:gd name="connsiteY11" fmla="*/ 9525 h 5136832"/>
                <a:gd name="connsiteX12" fmla="*/ 3548063 w 3548349"/>
                <a:gd name="connsiteY12" fmla="*/ 13335 h 5136832"/>
                <a:gd name="connsiteX13" fmla="*/ 3524250 w 3548349"/>
                <a:gd name="connsiteY13" fmla="*/ 62865 h 5136832"/>
                <a:gd name="connsiteX14" fmla="*/ 3064193 w 3548349"/>
                <a:gd name="connsiteY14" fmla="*/ 454343 h 5136832"/>
                <a:gd name="connsiteX15" fmla="*/ 2606040 w 3548349"/>
                <a:gd name="connsiteY15" fmla="*/ 976313 h 5136832"/>
                <a:gd name="connsiteX16" fmla="*/ 2121218 w 3548349"/>
                <a:gd name="connsiteY16" fmla="*/ 1724025 h 5136832"/>
                <a:gd name="connsiteX17" fmla="*/ 1678305 w 3548349"/>
                <a:gd name="connsiteY17" fmla="*/ 2583180 h 5136832"/>
                <a:gd name="connsiteX18" fmla="*/ 1287780 w 3548349"/>
                <a:gd name="connsiteY18" fmla="*/ 3386138 h 5136832"/>
                <a:gd name="connsiteX19" fmla="*/ 829627 w 3548349"/>
                <a:gd name="connsiteY19" fmla="*/ 4211955 h 5136832"/>
                <a:gd name="connsiteX20" fmla="*/ 276225 w 3548349"/>
                <a:gd name="connsiteY20" fmla="*/ 4962525 h 5136832"/>
                <a:gd name="connsiteX21" fmla="*/ 128588 w 3548349"/>
                <a:gd name="connsiteY21" fmla="*/ 5125403 h 5136832"/>
                <a:gd name="connsiteX22" fmla="*/ 103823 w 3548349"/>
                <a:gd name="connsiteY22" fmla="*/ 5135880 h 5136832"/>
                <a:gd name="connsiteX23" fmla="*/ 0 w 3548349"/>
                <a:gd name="connsiteY23" fmla="*/ 5136833 h 51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8349" h="5136832">
                  <a:moveTo>
                    <a:pt x="0" y="5136833"/>
                  </a:moveTo>
                  <a:cubicBezTo>
                    <a:pt x="1905" y="5129213"/>
                    <a:pt x="5715" y="5126355"/>
                    <a:pt x="9525" y="5122545"/>
                  </a:cubicBezTo>
                  <a:cubicBezTo>
                    <a:pt x="335280" y="4789170"/>
                    <a:pt x="608648" y="4416743"/>
                    <a:pt x="846773" y="4016693"/>
                  </a:cubicBezTo>
                  <a:cubicBezTo>
                    <a:pt x="999173" y="3760470"/>
                    <a:pt x="1137285" y="3496628"/>
                    <a:pt x="1269683" y="3229928"/>
                  </a:cubicBezTo>
                  <a:cubicBezTo>
                    <a:pt x="1416368" y="2934653"/>
                    <a:pt x="1555433" y="2635568"/>
                    <a:pt x="1701165" y="2339340"/>
                  </a:cubicBezTo>
                  <a:cubicBezTo>
                    <a:pt x="1854518" y="2028825"/>
                    <a:pt x="2014537" y="1721168"/>
                    <a:pt x="2195513" y="1425893"/>
                  </a:cubicBezTo>
                  <a:cubicBezTo>
                    <a:pt x="2365058" y="1148715"/>
                    <a:pt x="2552700" y="885825"/>
                    <a:pt x="2766060" y="641033"/>
                  </a:cubicBezTo>
                  <a:cubicBezTo>
                    <a:pt x="2927033" y="457200"/>
                    <a:pt x="3103245" y="291465"/>
                    <a:pt x="3291840" y="136208"/>
                  </a:cubicBezTo>
                  <a:cubicBezTo>
                    <a:pt x="3344228" y="93345"/>
                    <a:pt x="3396615" y="51435"/>
                    <a:pt x="3449955" y="9525"/>
                  </a:cubicBezTo>
                  <a:cubicBezTo>
                    <a:pt x="3458528" y="2858"/>
                    <a:pt x="3467100" y="0"/>
                    <a:pt x="3477578" y="0"/>
                  </a:cubicBezTo>
                  <a:cubicBezTo>
                    <a:pt x="3497580" y="953"/>
                    <a:pt x="3517583" y="0"/>
                    <a:pt x="3538538" y="0"/>
                  </a:cubicBezTo>
                  <a:cubicBezTo>
                    <a:pt x="3546158" y="0"/>
                    <a:pt x="3549015" y="2858"/>
                    <a:pt x="3548063" y="9525"/>
                  </a:cubicBezTo>
                  <a:cubicBezTo>
                    <a:pt x="3548063" y="10478"/>
                    <a:pt x="3548063" y="12383"/>
                    <a:pt x="3548063" y="13335"/>
                  </a:cubicBezTo>
                  <a:cubicBezTo>
                    <a:pt x="3549015" y="43815"/>
                    <a:pt x="3549015" y="43815"/>
                    <a:pt x="3524250" y="62865"/>
                  </a:cubicBezTo>
                  <a:cubicBezTo>
                    <a:pt x="3364230" y="185738"/>
                    <a:pt x="3209925" y="315278"/>
                    <a:pt x="3064193" y="454343"/>
                  </a:cubicBezTo>
                  <a:cubicBezTo>
                    <a:pt x="2896553" y="615315"/>
                    <a:pt x="2746058" y="791528"/>
                    <a:pt x="2606040" y="976313"/>
                  </a:cubicBezTo>
                  <a:cubicBezTo>
                    <a:pt x="2426018" y="1213485"/>
                    <a:pt x="2266950" y="1464945"/>
                    <a:pt x="2121218" y="1724025"/>
                  </a:cubicBezTo>
                  <a:cubicBezTo>
                    <a:pt x="1962150" y="2005013"/>
                    <a:pt x="1818323" y="2293620"/>
                    <a:pt x="1678305" y="2583180"/>
                  </a:cubicBezTo>
                  <a:cubicBezTo>
                    <a:pt x="1548765" y="2850833"/>
                    <a:pt x="1422083" y="3120390"/>
                    <a:pt x="1287780" y="3386138"/>
                  </a:cubicBezTo>
                  <a:cubicBezTo>
                    <a:pt x="1145858" y="3667125"/>
                    <a:pt x="996315" y="3944303"/>
                    <a:pt x="829627" y="4211955"/>
                  </a:cubicBezTo>
                  <a:cubicBezTo>
                    <a:pt x="663893" y="4475798"/>
                    <a:pt x="481965" y="4728210"/>
                    <a:pt x="276225" y="4962525"/>
                  </a:cubicBezTo>
                  <a:cubicBezTo>
                    <a:pt x="227647" y="5017770"/>
                    <a:pt x="178118" y="5071110"/>
                    <a:pt x="128588" y="5125403"/>
                  </a:cubicBezTo>
                  <a:cubicBezTo>
                    <a:pt x="121920" y="5133023"/>
                    <a:pt x="114300" y="5135880"/>
                    <a:pt x="103823" y="5135880"/>
                  </a:cubicBezTo>
                  <a:cubicBezTo>
                    <a:pt x="70485" y="5136833"/>
                    <a:pt x="36195" y="5136833"/>
                    <a:pt x="0" y="5136833"/>
                  </a:cubicBezTo>
                  <a:close/>
                </a:path>
              </a:pathLst>
            </a:custGeom>
            <a:solidFill>
              <a:srgbClr val="013061"/>
            </a:solid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8F8911ED-9F81-44C2-B5CA-BE71BA22B004}"/>
                </a:ext>
              </a:extLst>
            </p:cNvPr>
            <p:cNvSpPr/>
            <p:nvPr userDrawn="1"/>
          </p:nvSpPr>
          <p:spPr>
            <a:xfrm>
              <a:off x="7254580" y="2578"/>
              <a:ext cx="4353856" cy="6863417"/>
            </a:xfrm>
            <a:custGeom>
              <a:avLst/>
              <a:gdLst>
                <a:gd name="connsiteX0" fmla="*/ 467678 w 3257549"/>
                <a:gd name="connsiteY0" fmla="*/ 4583550 h 5135199"/>
                <a:gd name="connsiteX1" fmla="*/ 502920 w 3257549"/>
                <a:gd name="connsiteY1" fmla="*/ 4536877 h 5135199"/>
                <a:gd name="connsiteX2" fmla="*/ 911543 w 3257549"/>
                <a:gd name="connsiteY2" fmla="*/ 3875842 h 5135199"/>
                <a:gd name="connsiteX3" fmla="*/ 1295400 w 3257549"/>
                <a:gd name="connsiteY3" fmla="*/ 3079552 h 5135199"/>
                <a:gd name="connsiteX4" fmla="*/ 1659255 w 3257549"/>
                <a:gd name="connsiteY4" fmla="*/ 2239447 h 5135199"/>
                <a:gd name="connsiteX5" fmla="*/ 2068830 w 3257549"/>
                <a:gd name="connsiteY5" fmla="*/ 1385055 h 5135199"/>
                <a:gd name="connsiteX6" fmla="*/ 2575560 w 3257549"/>
                <a:gd name="connsiteY6" fmla="*/ 593527 h 5135199"/>
                <a:gd name="connsiteX7" fmla="*/ 3123248 w 3257549"/>
                <a:gd name="connsiteY7" fmla="*/ 13455 h 5135199"/>
                <a:gd name="connsiteX8" fmla="*/ 3160395 w 3257549"/>
                <a:gd name="connsiteY8" fmla="*/ 120 h 5135199"/>
                <a:gd name="connsiteX9" fmla="*/ 3242310 w 3257549"/>
                <a:gd name="connsiteY9" fmla="*/ 120 h 5135199"/>
                <a:gd name="connsiteX10" fmla="*/ 3257550 w 3257549"/>
                <a:gd name="connsiteY10" fmla="*/ 120 h 5135199"/>
                <a:gd name="connsiteX11" fmla="*/ 3245168 w 3257549"/>
                <a:gd name="connsiteY11" fmla="*/ 13455 h 5135199"/>
                <a:gd name="connsiteX12" fmla="*/ 2450783 w 3257549"/>
                <a:gd name="connsiteY12" fmla="*/ 901185 h 5135199"/>
                <a:gd name="connsiteX13" fmla="*/ 2052638 w 3257549"/>
                <a:gd name="connsiteY13" fmla="*/ 1584127 h 5135199"/>
                <a:gd name="connsiteX14" fmla="*/ 1653540 w 3257549"/>
                <a:gd name="connsiteY14" fmla="*/ 2446140 h 5135199"/>
                <a:gd name="connsiteX15" fmla="*/ 1295400 w 3257549"/>
                <a:gd name="connsiteY15" fmla="*/ 3270052 h 5135199"/>
                <a:gd name="connsiteX16" fmla="*/ 968693 w 3257549"/>
                <a:gd name="connsiteY16" fmla="*/ 3933945 h 5135199"/>
                <a:gd name="connsiteX17" fmla="*/ 424815 w 3257549"/>
                <a:gd name="connsiteY17" fmla="*/ 4771192 h 5135199"/>
                <a:gd name="connsiteX18" fmla="*/ 118110 w 3257549"/>
                <a:gd name="connsiteY18" fmla="*/ 5124570 h 5135199"/>
                <a:gd name="connsiteX19" fmla="*/ 95250 w 3257549"/>
                <a:gd name="connsiteY19" fmla="*/ 5135047 h 5135199"/>
                <a:gd name="connsiteX20" fmla="*/ 13335 w 3257549"/>
                <a:gd name="connsiteY20" fmla="*/ 5135047 h 5135199"/>
                <a:gd name="connsiteX21" fmla="*/ 0 w 3257549"/>
                <a:gd name="connsiteY21" fmla="*/ 5133142 h 5135199"/>
                <a:gd name="connsiteX22" fmla="*/ 20003 w 3257549"/>
                <a:gd name="connsiteY22" fmla="*/ 5103615 h 5135199"/>
                <a:gd name="connsiteX23" fmla="*/ 172403 w 3257549"/>
                <a:gd name="connsiteY23" fmla="*/ 4938832 h 5135199"/>
                <a:gd name="connsiteX24" fmla="*/ 361950 w 3257549"/>
                <a:gd name="connsiteY24" fmla="*/ 4713090 h 5135199"/>
                <a:gd name="connsiteX25" fmla="*/ 448628 w 3257549"/>
                <a:gd name="connsiteY25" fmla="*/ 4597837 h 5135199"/>
                <a:gd name="connsiteX26" fmla="*/ 467678 w 3257549"/>
                <a:gd name="connsiteY26" fmla="*/ 4583550 h 513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57549" h="5135199">
                  <a:moveTo>
                    <a:pt x="467678" y="4583550"/>
                  </a:moveTo>
                  <a:cubicBezTo>
                    <a:pt x="481013" y="4569262"/>
                    <a:pt x="491490" y="4553070"/>
                    <a:pt x="502920" y="4536877"/>
                  </a:cubicBezTo>
                  <a:cubicBezTo>
                    <a:pt x="654368" y="4325422"/>
                    <a:pt x="788670" y="4104442"/>
                    <a:pt x="911543" y="3875842"/>
                  </a:cubicBezTo>
                  <a:cubicBezTo>
                    <a:pt x="1051560" y="3616762"/>
                    <a:pt x="1176338" y="3349110"/>
                    <a:pt x="1295400" y="3079552"/>
                  </a:cubicBezTo>
                  <a:cubicBezTo>
                    <a:pt x="1419225" y="2800470"/>
                    <a:pt x="1536383" y="2518530"/>
                    <a:pt x="1659255" y="2239447"/>
                  </a:cubicBezTo>
                  <a:cubicBezTo>
                    <a:pt x="1785938" y="1949887"/>
                    <a:pt x="1919288" y="1663185"/>
                    <a:pt x="2068830" y="1385055"/>
                  </a:cubicBezTo>
                  <a:cubicBezTo>
                    <a:pt x="2217420" y="1107877"/>
                    <a:pt x="2383155" y="842130"/>
                    <a:pt x="2575560" y="593527"/>
                  </a:cubicBezTo>
                  <a:cubicBezTo>
                    <a:pt x="2739390" y="382072"/>
                    <a:pt x="2920365" y="187762"/>
                    <a:pt x="3123248" y="13455"/>
                  </a:cubicBezTo>
                  <a:cubicBezTo>
                    <a:pt x="3134678" y="3930"/>
                    <a:pt x="3145155" y="-833"/>
                    <a:pt x="3160395" y="120"/>
                  </a:cubicBezTo>
                  <a:cubicBezTo>
                    <a:pt x="3187065" y="1072"/>
                    <a:pt x="3214688" y="120"/>
                    <a:pt x="3242310" y="120"/>
                  </a:cubicBezTo>
                  <a:cubicBezTo>
                    <a:pt x="3247073" y="120"/>
                    <a:pt x="3251835" y="120"/>
                    <a:pt x="3257550" y="120"/>
                  </a:cubicBezTo>
                  <a:cubicBezTo>
                    <a:pt x="3254693" y="7740"/>
                    <a:pt x="3249930" y="10597"/>
                    <a:pt x="3245168" y="13455"/>
                  </a:cubicBezTo>
                  <a:cubicBezTo>
                    <a:pt x="2934653" y="268725"/>
                    <a:pt x="2674620" y="568762"/>
                    <a:pt x="2450783" y="901185"/>
                  </a:cubicBezTo>
                  <a:cubicBezTo>
                    <a:pt x="2303145" y="1120260"/>
                    <a:pt x="2172653" y="1349812"/>
                    <a:pt x="2052638" y="1584127"/>
                  </a:cubicBezTo>
                  <a:cubicBezTo>
                    <a:pt x="1908810" y="1866067"/>
                    <a:pt x="1779270" y="2155627"/>
                    <a:pt x="1653540" y="2446140"/>
                  </a:cubicBezTo>
                  <a:cubicBezTo>
                    <a:pt x="1534478" y="2721412"/>
                    <a:pt x="1418273" y="2997637"/>
                    <a:pt x="1295400" y="3270052"/>
                  </a:cubicBezTo>
                  <a:cubicBezTo>
                    <a:pt x="1193483" y="3494842"/>
                    <a:pt x="1086803" y="3716775"/>
                    <a:pt x="968693" y="3933945"/>
                  </a:cubicBezTo>
                  <a:cubicBezTo>
                    <a:pt x="809625" y="4227315"/>
                    <a:pt x="632460" y="4509255"/>
                    <a:pt x="424815" y="4771192"/>
                  </a:cubicBezTo>
                  <a:cubicBezTo>
                    <a:pt x="327660" y="4894065"/>
                    <a:pt x="224790" y="5010270"/>
                    <a:pt x="118110" y="5124570"/>
                  </a:cubicBezTo>
                  <a:cubicBezTo>
                    <a:pt x="111443" y="5131238"/>
                    <a:pt x="105728" y="5135047"/>
                    <a:pt x="95250" y="5135047"/>
                  </a:cubicBezTo>
                  <a:cubicBezTo>
                    <a:pt x="67628" y="5134095"/>
                    <a:pt x="40957" y="5135047"/>
                    <a:pt x="13335" y="5135047"/>
                  </a:cubicBezTo>
                  <a:cubicBezTo>
                    <a:pt x="8573" y="5135047"/>
                    <a:pt x="4763" y="5136000"/>
                    <a:pt x="0" y="5133142"/>
                  </a:cubicBezTo>
                  <a:cubicBezTo>
                    <a:pt x="2857" y="5120760"/>
                    <a:pt x="11430" y="5112188"/>
                    <a:pt x="20003" y="5103615"/>
                  </a:cubicBezTo>
                  <a:cubicBezTo>
                    <a:pt x="73343" y="5050275"/>
                    <a:pt x="122873" y="4994077"/>
                    <a:pt x="172403" y="4938832"/>
                  </a:cubicBezTo>
                  <a:cubicBezTo>
                    <a:pt x="238125" y="4865490"/>
                    <a:pt x="301943" y="4790242"/>
                    <a:pt x="361950" y="4713090"/>
                  </a:cubicBezTo>
                  <a:cubicBezTo>
                    <a:pt x="391478" y="4674990"/>
                    <a:pt x="420053" y="4636890"/>
                    <a:pt x="448628" y="4597837"/>
                  </a:cubicBezTo>
                  <a:cubicBezTo>
                    <a:pt x="455295" y="4593075"/>
                    <a:pt x="459105" y="4585455"/>
                    <a:pt x="467678" y="4583550"/>
                  </a:cubicBezTo>
                  <a:close/>
                </a:path>
              </a:pathLst>
            </a:custGeom>
            <a:solidFill>
              <a:srgbClr val="013061"/>
            </a:solid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8687E9-179C-4F0C-A598-7256A7D26288}"/>
                </a:ext>
              </a:extLst>
            </p:cNvPr>
            <p:cNvSpPr/>
            <p:nvPr userDrawn="1"/>
          </p:nvSpPr>
          <p:spPr>
            <a:xfrm>
              <a:off x="7162921" y="0"/>
              <a:ext cx="3959209" cy="6863246"/>
            </a:xfrm>
            <a:custGeom>
              <a:avLst/>
              <a:gdLst>
                <a:gd name="connsiteX0" fmla="*/ 536258 w 2962275"/>
                <a:gd name="connsiteY0" fmla="*/ 4585479 h 5135071"/>
                <a:gd name="connsiteX1" fmla="*/ 206692 w 2962275"/>
                <a:gd name="connsiteY1" fmla="*/ 4989339 h 5135071"/>
                <a:gd name="connsiteX2" fmla="*/ 70485 w 2962275"/>
                <a:gd name="connsiteY2" fmla="*/ 5135071 h 5135071"/>
                <a:gd name="connsiteX3" fmla="*/ 0 w 2962275"/>
                <a:gd name="connsiteY3" fmla="*/ 5135071 h 5135071"/>
                <a:gd name="connsiteX4" fmla="*/ 10478 w 2962275"/>
                <a:gd name="connsiteY4" fmla="*/ 5119832 h 5135071"/>
                <a:gd name="connsiteX5" fmla="*/ 485775 w 2962275"/>
                <a:gd name="connsiteY5" fmla="*/ 4511184 h 5135071"/>
                <a:gd name="connsiteX6" fmla="*/ 837248 w 2962275"/>
                <a:gd name="connsiteY6" fmla="*/ 3890154 h 5135071"/>
                <a:gd name="connsiteX7" fmla="*/ 1181100 w 2962275"/>
                <a:gd name="connsiteY7" fmla="*/ 3103389 h 5135071"/>
                <a:gd name="connsiteX8" fmla="*/ 1529715 w 2962275"/>
                <a:gd name="connsiteY8" fmla="*/ 2197561 h 5135071"/>
                <a:gd name="connsiteX9" fmla="*/ 1886903 w 2962275"/>
                <a:gd name="connsiteY9" fmla="*/ 1366981 h 5135071"/>
                <a:gd name="connsiteX10" fmla="*/ 2315528 w 2962275"/>
                <a:gd name="connsiteY10" fmla="*/ 621174 h 5135071"/>
                <a:gd name="connsiteX11" fmla="*/ 2755583 w 2962275"/>
                <a:gd name="connsiteY11" fmla="*/ 88726 h 5135071"/>
                <a:gd name="connsiteX12" fmla="*/ 2835593 w 2962275"/>
                <a:gd name="connsiteY12" fmla="*/ 10621 h 5135071"/>
                <a:gd name="connsiteX13" fmla="*/ 2862263 w 2962275"/>
                <a:gd name="connsiteY13" fmla="*/ 144 h 5135071"/>
                <a:gd name="connsiteX14" fmla="*/ 2962275 w 2962275"/>
                <a:gd name="connsiteY14" fmla="*/ 144 h 5135071"/>
                <a:gd name="connsiteX15" fmla="*/ 2947988 w 2962275"/>
                <a:gd name="connsiteY15" fmla="*/ 17289 h 5135071"/>
                <a:gd name="connsiteX16" fmla="*/ 2589848 w 2962275"/>
                <a:gd name="connsiteY16" fmla="*/ 390669 h 5135071"/>
                <a:gd name="connsiteX17" fmla="*/ 2206943 w 2962275"/>
                <a:gd name="connsiteY17" fmla="*/ 938356 h 5135071"/>
                <a:gd name="connsiteX18" fmla="*/ 1844993 w 2962275"/>
                <a:gd name="connsiteY18" fmla="*/ 1644159 h 5135071"/>
                <a:gd name="connsiteX19" fmla="*/ 1482090 w 2962275"/>
                <a:gd name="connsiteY19" fmla="*/ 2540462 h 5135071"/>
                <a:gd name="connsiteX20" fmla="*/ 1219200 w 2962275"/>
                <a:gd name="connsiteY20" fmla="*/ 3221499 h 5135071"/>
                <a:gd name="connsiteX21" fmla="*/ 852488 w 2962275"/>
                <a:gd name="connsiteY21" fmla="*/ 4037791 h 5135071"/>
                <a:gd name="connsiteX22" fmla="*/ 547688 w 2962275"/>
                <a:gd name="connsiteY22" fmla="*/ 4565476 h 5135071"/>
                <a:gd name="connsiteX23" fmla="*/ 536258 w 2962275"/>
                <a:gd name="connsiteY23" fmla="*/ 4585479 h 513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62275" h="5135071">
                  <a:moveTo>
                    <a:pt x="536258" y="4585479"/>
                  </a:moveTo>
                  <a:cubicBezTo>
                    <a:pt x="435293" y="4727401"/>
                    <a:pt x="322898" y="4860751"/>
                    <a:pt x="206692" y="4989339"/>
                  </a:cubicBezTo>
                  <a:cubicBezTo>
                    <a:pt x="161925" y="5038869"/>
                    <a:pt x="116205" y="5086494"/>
                    <a:pt x="70485" y="5135071"/>
                  </a:cubicBezTo>
                  <a:cubicBezTo>
                    <a:pt x="47625" y="5135071"/>
                    <a:pt x="23813" y="5135071"/>
                    <a:pt x="0" y="5135071"/>
                  </a:cubicBezTo>
                  <a:cubicBezTo>
                    <a:pt x="0" y="5127451"/>
                    <a:pt x="6667" y="5123642"/>
                    <a:pt x="10478" y="5119832"/>
                  </a:cubicBezTo>
                  <a:cubicBezTo>
                    <a:pt x="184785" y="4929332"/>
                    <a:pt x="344805" y="4728354"/>
                    <a:pt x="485775" y="4511184"/>
                  </a:cubicBezTo>
                  <a:cubicBezTo>
                    <a:pt x="616268" y="4311159"/>
                    <a:pt x="731520" y="4103514"/>
                    <a:pt x="837248" y="3890154"/>
                  </a:cubicBezTo>
                  <a:cubicBezTo>
                    <a:pt x="963930" y="3632979"/>
                    <a:pt x="1075373" y="3369137"/>
                    <a:pt x="1181100" y="3103389"/>
                  </a:cubicBezTo>
                  <a:cubicBezTo>
                    <a:pt x="1300163" y="2802399"/>
                    <a:pt x="1412558" y="2498551"/>
                    <a:pt x="1529715" y="2197561"/>
                  </a:cubicBezTo>
                  <a:cubicBezTo>
                    <a:pt x="1639253" y="1916574"/>
                    <a:pt x="1754505" y="1638444"/>
                    <a:pt x="1886903" y="1366981"/>
                  </a:cubicBezTo>
                  <a:cubicBezTo>
                    <a:pt x="2012633" y="1107901"/>
                    <a:pt x="2151698" y="857394"/>
                    <a:pt x="2315528" y="621174"/>
                  </a:cubicBezTo>
                  <a:cubicBezTo>
                    <a:pt x="2446973" y="431626"/>
                    <a:pt x="2590800" y="251604"/>
                    <a:pt x="2755583" y="88726"/>
                  </a:cubicBezTo>
                  <a:cubicBezTo>
                    <a:pt x="2782253" y="63009"/>
                    <a:pt x="2809875" y="37291"/>
                    <a:pt x="2835593" y="10621"/>
                  </a:cubicBezTo>
                  <a:cubicBezTo>
                    <a:pt x="2843213" y="3001"/>
                    <a:pt x="2850833" y="-809"/>
                    <a:pt x="2862263" y="144"/>
                  </a:cubicBezTo>
                  <a:cubicBezTo>
                    <a:pt x="2894648" y="1096"/>
                    <a:pt x="2927985" y="144"/>
                    <a:pt x="2962275" y="144"/>
                  </a:cubicBezTo>
                  <a:cubicBezTo>
                    <a:pt x="2959418" y="8716"/>
                    <a:pt x="2952750" y="12526"/>
                    <a:pt x="2947988" y="17289"/>
                  </a:cubicBezTo>
                  <a:cubicBezTo>
                    <a:pt x="2819400" y="133494"/>
                    <a:pt x="2699385" y="257319"/>
                    <a:pt x="2589848" y="390669"/>
                  </a:cubicBezTo>
                  <a:cubicBezTo>
                    <a:pt x="2447925" y="563071"/>
                    <a:pt x="2321243" y="745951"/>
                    <a:pt x="2206943" y="938356"/>
                  </a:cubicBezTo>
                  <a:cubicBezTo>
                    <a:pt x="2070735" y="1166004"/>
                    <a:pt x="1953578" y="1402224"/>
                    <a:pt x="1844993" y="1644159"/>
                  </a:cubicBezTo>
                  <a:cubicBezTo>
                    <a:pt x="1713548" y="1938481"/>
                    <a:pt x="1596390" y="2238519"/>
                    <a:pt x="1482090" y="2540462"/>
                  </a:cubicBezTo>
                  <a:cubicBezTo>
                    <a:pt x="1395413" y="2768109"/>
                    <a:pt x="1309688" y="2995756"/>
                    <a:pt x="1219200" y="3221499"/>
                  </a:cubicBezTo>
                  <a:cubicBezTo>
                    <a:pt x="1107758" y="3498676"/>
                    <a:pt x="989648" y="3772044"/>
                    <a:pt x="852488" y="4037791"/>
                  </a:cubicBezTo>
                  <a:cubicBezTo>
                    <a:pt x="760095" y="4218767"/>
                    <a:pt x="659130" y="4394979"/>
                    <a:pt x="547688" y="4565476"/>
                  </a:cubicBezTo>
                  <a:cubicBezTo>
                    <a:pt x="542925" y="4571192"/>
                    <a:pt x="538163" y="4577859"/>
                    <a:pt x="536258" y="4585479"/>
                  </a:cubicBezTo>
                  <a:close/>
                </a:path>
              </a:pathLst>
            </a:custGeom>
            <a:solidFill>
              <a:srgbClr val="B2B2B2"/>
            </a:solid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EC228EA3-2787-4800-B76D-6842472F0588}"/>
                </a:ext>
              </a:extLst>
            </p:cNvPr>
            <p:cNvSpPr/>
            <p:nvPr userDrawn="1"/>
          </p:nvSpPr>
          <p:spPr>
            <a:xfrm>
              <a:off x="6994876" y="1465"/>
              <a:ext cx="3539099" cy="6864326"/>
            </a:xfrm>
            <a:custGeom>
              <a:avLst/>
              <a:gdLst>
                <a:gd name="connsiteX0" fmla="*/ 2647950 w 2647949"/>
                <a:gd name="connsiteY0" fmla="*/ 0 h 5135879"/>
                <a:gd name="connsiteX1" fmla="*/ 2611755 w 2647949"/>
                <a:gd name="connsiteY1" fmla="*/ 37148 h 5135879"/>
                <a:gd name="connsiteX2" fmla="*/ 2222183 w 2647949"/>
                <a:gd name="connsiteY2" fmla="*/ 529590 h 5135879"/>
                <a:gd name="connsiteX3" fmla="*/ 1954530 w 2647949"/>
                <a:gd name="connsiteY3" fmla="*/ 991553 h 5135879"/>
                <a:gd name="connsiteX4" fmla="*/ 1614488 w 2647949"/>
                <a:gd name="connsiteY4" fmla="*/ 1777365 h 5135879"/>
                <a:gd name="connsiteX5" fmla="*/ 1348740 w 2647949"/>
                <a:gd name="connsiteY5" fmla="*/ 2538413 h 5135879"/>
                <a:gd name="connsiteX6" fmla="*/ 1060133 w 2647949"/>
                <a:gd name="connsiteY6" fmla="*/ 3368993 h 5135879"/>
                <a:gd name="connsiteX7" fmla="*/ 703898 w 2647949"/>
                <a:gd name="connsiteY7" fmla="*/ 4191953 h 5135879"/>
                <a:gd name="connsiteX8" fmla="*/ 247650 w 2647949"/>
                <a:gd name="connsiteY8" fmla="*/ 4919663 h 5135879"/>
                <a:gd name="connsiteX9" fmla="*/ 81915 w 2647949"/>
                <a:gd name="connsiteY9" fmla="*/ 5123498 h 5135879"/>
                <a:gd name="connsiteX10" fmla="*/ 56197 w 2647949"/>
                <a:gd name="connsiteY10" fmla="*/ 5135880 h 5135879"/>
                <a:gd name="connsiteX11" fmla="*/ 0 w 2647949"/>
                <a:gd name="connsiteY11" fmla="*/ 5135880 h 5135879"/>
                <a:gd name="connsiteX12" fmla="*/ 12383 w 2647949"/>
                <a:gd name="connsiteY12" fmla="*/ 5116830 h 5135879"/>
                <a:gd name="connsiteX13" fmla="*/ 242888 w 2647949"/>
                <a:gd name="connsiteY13" fmla="*/ 4833938 h 5135879"/>
                <a:gd name="connsiteX14" fmla="*/ 574358 w 2647949"/>
                <a:gd name="connsiteY14" fmla="*/ 4318635 h 5135879"/>
                <a:gd name="connsiteX15" fmla="*/ 983933 w 2647949"/>
                <a:gd name="connsiteY15" fmla="*/ 3418523 h 5135879"/>
                <a:gd name="connsiteX16" fmla="*/ 1268730 w 2647949"/>
                <a:gd name="connsiteY16" fmla="*/ 2609850 h 5135879"/>
                <a:gd name="connsiteX17" fmla="*/ 1552575 w 2647949"/>
                <a:gd name="connsiteY17" fmla="*/ 1789748 h 5135879"/>
                <a:gd name="connsiteX18" fmla="*/ 1852613 w 2647949"/>
                <a:gd name="connsiteY18" fmla="*/ 1074420 h 5135879"/>
                <a:gd name="connsiteX19" fmla="*/ 2178368 w 2647949"/>
                <a:gd name="connsiteY19" fmla="*/ 496253 h 5135879"/>
                <a:gd name="connsiteX20" fmla="*/ 2552700 w 2647949"/>
                <a:gd name="connsiteY20" fmla="*/ 18098 h 5135879"/>
                <a:gd name="connsiteX21" fmla="*/ 2589848 w 2647949"/>
                <a:gd name="connsiteY21" fmla="*/ 1905 h 5135879"/>
                <a:gd name="connsiteX22" fmla="*/ 2647950 w 2647949"/>
                <a:gd name="connsiteY22" fmla="*/ 0 h 513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7949" h="5135879">
                  <a:moveTo>
                    <a:pt x="2647950" y="0"/>
                  </a:moveTo>
                  <a:cubicBezTo>
                    <a:pt x="2633663" y="14288"/>
                    <a:pt x="2623185" y="25718"/>
                    <a:pt x="2611755" y="37148"/>
                  </a:cubicBezTo>
                  <a:cubicBezTo>
                    <a:pt x="2466023" y="188595"/>
                    <a:pt x="2338388" y="354330"/>
                    <a:pt x="2222183" y="529590"/>
                  </a:cubicBezTo>
                  <a:cubicBezTo>
                    <a:pt x="2124075" y="678180"/>
                    <a:pt x="2035493" y="832485"/>
                    <a:pt x="1954530" y="991553"/>
                  </a:cubicBezTo>
                  <a:cubicBezTo>
                    <a:pt x="1824038" y="1246823"/>
                    <a:pt x="1714500" y="1509713"/>
                    <a:pt x="1614488" y="1777365"/>
                  </a:cubicBezTo>
                  <a:cubicBezTo>
                    <a:pt x="1520190" y="2028825"/>
                    <a:pt x="1434465" y="2283143"/>
                    <a:pt x="1348740" y="2538413"/>
                  </a:cubicBezTo>
                  <a:cubicBezTo>
                    <a:pt x="1255395" y="2816543"/>
                    <a:pt x="1163003" y="3094673"/>
                    <a:pt x="1060133" y="3368993"/>
                  </a:cubicBezTo>
                  <a:cubicBezTo>
                    <a:pt x="955358" y="3649028"/>
                    <a:pt x="840105" y="3925253"/>
                    <a:pt x="703898" y="4191953"/>
                  </a:cubicBezTo>
                  <a:cubicBezTo>
                    <a:pt x="573405" y="4447223"/>
                    <a:pt x="423863" y="4692015"/>
                    <a:pt x="247650" y="4919663"/>
                  </a:cubicBezTo>
                  <a:cubicBezTo>
                    <a:pt x="195263" y="4988243"/>
                    <a:pt x="139065" y="5055870"/>
                    <a:pt x="81915" y="5123498"/>
                  </a:cubicBezTo>
                  <a:cubicBezTo>
                    <a:pt x="75248" y="5132070"/>
                    <a:pt x="67628" y="5135880"/>
                    <a:pt x="56197" y="5135880"/>
                  </a:cubicBezTo>
                  <a:cubicBezTo>
                    <a:pt x="38100" y="5134928"/>
                    <a:pt x="20003" y="5135880"/>
                    <a:pt x="0" y="5135880"/>
                  </a:cubicBezTo>
                  <a:cubicBezTo>
                    <a:pt x="953" y="5126355"/>
                    <a:pt x="7620" y="5122545"/>
                    <a:pt x="12383" y="5116830"/>
                  </a:cubicBezTo>
                  <a:cubicBezTo>
                    <a:pt x="92393" y="5025390"/>
                    <a:pt x="170498" y="4931093"/>
                    <a:pt x="242888" y="4833938"/>
                  </a:cubicBezTo>
                  <a:cubicBezTo>
                    <a:pt x="365760" y="4670108"/>
                    <a:pt x="475298" y="4497705"/>
                    <a:pt x="574358" y="4318635"/>
                  </a:cubicBezTo>
                  <a:cubicBezTo>
                    <a:pt x="734378" y="4029075"/>
                    <a:pt x="865823" y="3727133"/>
                    <a:pt x="983933" y="3418523"/>
                  </a:cubicBezTo>
                  <a:cubicBezTo>
                    <a:pt x="1085850" y="3151823"/>
                    <a:pt x="1177290" y="2881313"/>
                    <a:pt x="1268730" y="2609850"/>
                  </a:cubicBezTo>
                  <a:cubicBezTo>
                    <a:pt x="1361123" y="2335530"/>
                    <a:pt x="1452563" y="2060258"/>
                    <a:pt x="1552575" y="1789748"/>
                  </a:cubicBezTo>
                  <a:cubicBezTo>
                    <a:pt x="1643063" y="1546860"/>
                    <a:pt x="1740218" y="1307783"/>
                    <a:pt x="1852613" y="1074420"/>
                  </a:cubicBezTo>
                  <a:cubicBezTo>
                    <a:pt x="1948815" y="874395"/>
                    <a:pt x="2055495" y="681038"/>
                    <a:pt x="2178368" y="496253"/>
                  </a:cubicBezTo>
                  <a:cubicBezTo>
                    <a:pt x="2290763" y="326708"/>
                    <a:pt x="2413635" y="165735"/>
                    <a:pt x="2552700" y="18098"/>
                  </a:cubicBezTo>
                  <a:cubicBezTo>
                    <a:pt x="2563178" y="6668"/>
                    <a:pt x="2573655" y="0"/>
                    <a:pt x="2589848" y="1905"/>
                  </a:cubicBezTo>
                  <a:cubicBezTo>
                    <a:pt x="2607945" y="953"/>
                    <a:pt x="2626043" y="0"/>
                    <a:pt x="2647950" y="0"/>
                  </a:cubicBezTo>
                  <a:close/>
                </a:path>
              </a:pathLst>
            </a:custGeom>
            <a:solidFill>
              <a:srgbClr val="B2B2B2"/>
            </a:solid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2C99CA0B-00C3-41E7-81BA-E3D6F238008C}"/>
                </a:ext>
              </a:extLst>
            </p:cNvPr>
            <p:cNvSpPr/>
            <p:nvPr userDrawn="1"/>
          </p:nvSpPr>
          <p:spPr>
            <a:xfrm>
              <a:off x="6848475" y="1465"/>
              <a:ext cx="3173732" cy="6864755"/>
            </a:xfrm>
            <a:custGeom>
              <a:avLst/>
              <a:gdLst>
                <a:gd name="connsiteX0" fmla="*/ 2374583 w 2374582"/>
                <a:gd name="connsiteY0" fmla="*/ 0 h 5136200"/>
                <a:gd name="connsiteX1" fmla="*/ 2366963 w 2374582"/>
                <a:gd name="connsiteY1" fmla="*/ 12383 h 5136200"/>
                <a:gd name="connsiteX2" fmla="*/ 2007870 w 2374582"/>
                <a:gd name="connsiteY2" fmla="*/ 520065 h 5136200"/>
                <a:gd name="connsiteX3" fmla="*/ 1644968 w 2374582"/>
                <a:gd name="connsiteY3" fmla="*/ 1281113 h 5136200"/>
                <a:gd name="connsiteX4" fmla="*/ 1375410 w 2374582"/>
                <a:gd name="connsiteY4" fmla="*/ 2072640 h 5136200"/>
                <a:gd name="connsiteX5" fmla="*/ 1239203 w 2374582"/>
                <a:gd name="connsiteY5" fmla="*/ 2531745 h 5136200"/>
                <a:gd name="connsiteX6" fmla="*/ 942975 w 2374582"/>
                <a:gd name="connsiteY6" fmla="*/ 3485198 h 5136200"/>
                <a:gd name="connsiteX7" fmla="*/ 667703 w 2374582"/>
                <a:gd name="connsiteY7" fmla="*/ 4173855 h 5136200"/>
                <a:gd name="connsiteX8" fmla="*/ 79058 w 2374582"/>
                <a:gd name="connsiteY8" fmla="*/ 5117783 h 5136200"/>
                <a:gd name="connsiteX9" fmla="*/ 39053 w 2374582"/>
                <a:gd name="connsiteY9" fmla="*/ 5135880 h 5136200"/>
                <a:gd name="connsiteX10" fmla="*/ 0 w 2374582"/>
                <a:gd name="connsiteY10" fmla="*/ 5135880 h 5136200"/>
                <a:gd name="connsiteX11" fmla="*/ 11430 w 2374582"/>
                <a:gd name="connsiteY11" fmla="*/ 5117783 h 5136200"/>
                <a:gd name="connsiteX12" fmla="*/ 359093 w 2374582"/>
                <a:gd name="connsiteY12" fmla="*/ 4640580 h 5136200"/>
                <a:gd name="connsiteX13" fmla="*/ 641033 w 2374582"/>
                <a:gd name="connsiteY13" fmla="*/ 4110990 h 5136200"/>
                <a:gd name="connsiteX14" fmla="*/ 1016318 w 2374582"/>
                <a:gd name="connsiteY14" fmla="*/ 3103245 h 5136200"/>
                <a:gd name="connsiteX15" fmla="*/ 1251585 w 2374582"/>
                <a:gd name="connsiteY15" fmla="*/ 2314575 h 5136200"/>
                <a:gd name="connsiteX16" fmla="*/ 1498283 w 2374582"/>
                <a:gd name="connsiteY16" fmla="*/ 1533525 h 5136200"/>
                <a:gd name="connsiteX17" fmla="*/ 1742123 w 2374582"/>
                <a:gd name="connsiteY17" fmla="*/ 922020 h 5136200"/>
                <a:gd name="connsiteX18" fmla="*/ 2228850 w 2374582"/>
                <a:gd name="connsiteY18" fmla="*/ 99060 h 5136200"/>
                <a:gd name="connsiteX19" fmla="*/ 2300288 w 2374582"/>
                <a:gd name="connsiteY19" fmla="*/ 10478 h 5136200"/>
                <a:gd name="connsiteX20" fmla="*/ 2323148 w 2374582"/>
                <a:gd name="connsiteY20" fmla="*/ 0 h 5136200"/>
                <a:gd name="connsiteX21" fmla="*/ 2374583 w 2374582"/>
                <a:gd name="connsiteY21" fmla="*/ 0 h 513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74582" h="5136200">
                  <a:moveTo>
                    <a:pt x="2374583" y="0"/>
                  </a:moveTo>
                  <a:cubicBezTo>
                    <a:pt x="2373630" y="6668"/>
                    <a:pt x="2369820" y="9525"/>
                    <a:pt x="2366963" y="12383"/>
                  </a:cubicBezTo>
                  <a:cubicBezTo>
                    <a:pt x="2230755" y="170498"/>
                    <a:pt x="2113598" y="340995"/>
                    <a:pt x="2007870" y="520065"/>
                  </a:cubicBezTo>
                  <a:cubicBezTo>
                    <a:pt x="1864995" y="762953"/>
                    <a:pt x="1747838" y="1019175"/>
                    <a:pt x="1644968" y="1281113"/>
                  </a:cubicBezTo>
                  <a:cubicBezTo>
                    <a:pt x="1543050" y="1541145"/>
                    <a:pt x="1456373" y="1805940"/>
                    <a:pt x="1375410" y="2072640"/>
                  </a:cubicBezTo>
                  <a:cubicBezTo>
                    <a:pt x="1328738" y="2225040"/>
                    <a:pt x="1283970" y="2378393"/>
                    <a:pt x="1239203" y="2531745"/>
                  </a:cubicBezTo>
                  <a:cubicBezTo>
                    <a:pt x="1145858" y="2850833"/>
                    <a:pt x="1052513" y="3170873"/>
                    <a:pt x="942975" y="3485198"/>
                  </a:cubicBezTo>
                  <a:cubicBezTo>
                    <a:pt x="862013" y="3718560"/>
                    <a:pt x="772478" y="3949065"/>
                    <a:pt x="667703" y="4173855"/>
                  </a:cubicBezTo>
                  <a:cubicBezTo>
                    <a:pt x="510540" y="4512945"/>
                    <a:pt x="319088" y="4830128"/>
                    <a:pt x="79058" y="5117783"/>
                  </a:cubicBezTo>
                  <a:cubicBezTo>
                    <a:pt x="67628" y="5131118"/>
                    <a:pt x="56198" y="5137785"/>
                    <a:pt x="39053" y="5135880"/>
                  </a:cubicBezTo>
                  <a:cubicBezTo>
                    <a:pt x="26670" y="5134928"/>
                    <a:pt x="14288" y="5135880"/>
                    <a:pt x="0" y="5135880"/>
                  </a:cubicBezTo>
                  <a:cubicBezTo>
                    <a:pt x="1905" y="5126355"/>
                    <a:pt x="7620" y="5122545"/>
                    <a:pt x="11430" y="5117783"/>
                  </a:cubicBezTo>
                  <a:cubicBezTo>
                    <a:pt x="138113" y="4966335"/>
                    <a:pt x="255270" y="4808220"/>
                    <a:pt x="359093" y="4640580"/>
                  </a:cubicBezTo>
                  <a:cubicBezTo>
                    <a:pt x="464820" y="4470083"/>
                    <a:pt x="557213" y="4292918"/>
                    <a:pt x="641033" y="4110990"/>
                  </a:cubicBezTo>
                  <a:cubicBezTo>
                    <a:pt x="790575" y="3784283"/>
                    <a:pt x="909638" y="3445193"/>
                    <a:pt x="1016318" y="3103245"/>
                  </a:cubicBezTo>
                  <a:cubicBezTo>
                    <a:pt x="1098233" y="2841308"/>
                    <a:pt x="1173480" y="2577465"/>
                    <a:pt x="1251585" y="2314575"/>
                  </a:cubicBezTo>
                  <a:cubicBezTo>
                    <a:pt x="1328738" y="2052638"/>
                    <a:pt x="1407795" y="1791653"/>
                    <a:pt x="1498283" y="1533525"/>
                  </a:cubicBezTo>
                  <a:cubicBezTo>
                    <a:pt x="1570673" y="1325880"/>
                    <a:pt x="1650683" y="1122045"/>
                    <a:pt x="1742123" y="922020"/>
                  </a:cubicBezTo>
                  <a:cubicBezTo>
                    <a:pt x="1875473" y="630555"/>
                    <a:pt x="2032635" y="353378"/>
                    <a:pt x="2228850" y="99060"/>
                  </a:cubicBezTo>
                  <a:cubicBezTo>
                    <a:pt x="2251710" y="69533"/>
                    <a:pt x="2276475" y="40005"/>
                    <a:pt x="2300288" y="10478"/>
                  </a:cubicBezTo>
                  <a:cubicBezTo>
                    <a:pt x="2306003" y="2858"/>
                    <a:pt x="2312670" y="0"/>
                    <a:pt x="2323148" y="0"/>
                  </a:cubicBezTo>
                  <a:cubicBezTo>
                    <a:pt x="2340293" y="0"/>
                    <a:pt x="2357438" y="0"/>
                    <a:pt x="2374583" y="0"/>
                  </a:cubicBezTo>
                  <a:close/>
                </a:path>
              </a:pathLst>
            </a:custGeom>
            <a:solidFill>
              <a:srgbClr val="B2B2B2"/>
            </a:solidFill>
            <a:ln w="9525"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AFC11069-C070-154E-8802-92BE53FAC797}"/>
              </a:ext>
            </a:extLst>
          </p:cNvPr>
          <p:cNvSpPr/>
          <p:nvPr userDrawn="1"/>
        </p:nvSpPr>
        <p:spPr>
          <a:xfrm>
            <a:off x="6629401" y="-2544"/>
            <a:ext cx="5562600" cy="6864326"/>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3F64B000-018A-43EB-AFF8-8E17E097A9C5}"/>
              </a:ext>
            </a:extLst>
          </p:cNvPr>
          <p:cNvCxnSpPr>
            <a:cxnSpLocks/>
          </p:cNvCxnSpPr>
          <p:nvPr userDrawn="1"/>
        </p:nvCxnSpPr>
        <p:spPr>
          <a:xfrm flipH="1">
            <a:off x="632454" y="3474187"/>
            <a:ext cx="1312862" cy="0"/>
          </a:xfrm>
          <a:prstGeom prst="line">
            <a:avLst/>
          </a:prstGeom>
          <a:ln>
            <a:solidFill>
              <a:srgbClr val="013061"/>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0F786A0E-8A04-4F97-B2BA-E435971E0CC7}"/>
              </a:ext>
            </a:extLst>
          </p:cNvPr>
          <p:cNvSpPr>
            <a:spLocks noGrp="1"/>
          </p:cNvSpPr>
          <p:nvPr>
            <p:ph type="ctrTitle"/>
          </p:nvPr>
        </p:nvSpPr>
        <p:spPr>
          <a:xfrm>
            <a:off x="632455" y="1702984"/>
            <a:ext cx="6810513" cy="1655762"/>
          </a:xfrm>
        </p:spPr>
        <p:txBody>
          <a:bodyPr vert="horz" anchor="b">
            <a:normAutofit/>
          </a:bodyPr>
          <a:lstStyle>
            <a:lvl1pPr marL="0" algn="l" defTabSz="914400" rtl="0" eaLnBrk="1" latinLnBrk="0" hangingPunct="1">
              <a:lnSpc>
                <a:spcPct val="90000"/>
              </a:lnSpc>
              <a:spcBef>
                <a:spcPct val="0"/>
              </a:spcBef>
              <a:buNone/>
              <a:defRPr lang="en-US" sz="4000" b="1" kern="1200" dirty="0">
                <a:solidFill>
                  <a:srgbClr val="01306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5" name="Text Placeholder 4">
            <a:extLst>
              <a:ext uri="{FF2B5EF4-FFF2-40B4-BE49-F238E27FC236}">
                <a16:creationId xmlns:a16="http://schemas.microsoft.com/office/drawing/2014/main" id="{C3AA6099-016C-4478-9F34-BF59D9A12F4E}"/>
              </a:ext>
            </a:extLst>
          </p:cNvPr>
          <p:cNvSpPr>
            <a:spLocks noGrp="1"/>
          </p:cNvSpPr>
          <p:nvPr>
            <p:ph type="body" sz="quarter" idx="10" hasCustomPrompt="1"/>
          </p:nvPr>
        </p:nvSpPr>
        <p:spPr>
          <a:xfrm>
            <a:off x="632891" y="3794439"/>
            <a:ext cx="6813641" cy="1168400"/>
          </a:xfrm>
        </p:spPr>
        <p:txBody>
          <a:bodyPr>
            <a:noAutofit/>
          </a:bodyPr>
          <a:lstStyle>
            <a:lvl1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22" name="Picture 2">
            <a:extLst>
              <a:ext uri="{FF2B5EF4-FFF2-40B4-BE49-F238E27FC236}">
                <a16:creationId xmlns:a16="http://schemas.microsoft.com/office/drawing/2014/main" id="{B4971FD8-0E70-6F4B-9E45-2593729EE5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46538" y="305862"/>
            <a:ext cx="3447393" cy="1071026"/>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7">
            <a:extLst>
              <a:ext uri="{FF2B5EF4-FFF2-40B4-BE49-F238E27FC236}">
                <a16:creationId xmlns:a16="http://schemas.microsoft.com/office/drawing/2014/main" id="{A068E004-CFB5-41E5-BFA9-E734AAEE6B73}"/>
              </a:ext>
            </a:extLst>
          </p:cNvPr>
          <p:cNvSpPr>
            <a:spLocks noGrp="1"/>
          </p:cNvSpPr>
          <p:nvPr>
            <p:ph type="sldNum" sz="quarter" idx="11"/>
          </p:nvPr>
        </p:nvSpPr>
        <p:spPr>
          <a:xfrm>
            <a:off x="11009562" y="6449372"/>
            <a:ext cx="778221" cy="228600"/>
          </a:xfrm>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28988053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3914187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22299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29" y="4753478"/>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304332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grpSp>
        <p:nvGrpSpPr>
          <p:cNvPr id="49" name="Group 48">
            <a:extLst>
              <a:ext uri="{FF2B5EF4-FFF2-40B4-BE49-F238E27FC236}">
                <a16:creationId xmlns:a16="http://schemas.microsoft.com/office/drawing/2014/main" id="{87732F18-60C6-453B-ACD3-E0BB6A36EA3E}"/>
              </a:ext>
            </a:extLst>
          </p:cNvPr>
          <p:cNvGrpSpPr/>
          <p:nvPr userDrawn="1"/>
        </p:nvGrpSpPr>
        <p:grpSpPr>
          <a:xfrm>
            <a:off x="2926" y="841552"/>
            <a:ext cx="12180417" cy="2963021"/>
            <a:chOff x="2926" y="841552"/>
            <a:chExt cx="12180417" cy="2963021"/>
          </a:xfrm>
        </p:grpSpPr>
        <p:sp>
          <p:nvSpPr>
            <p:cNvPr id="37" name="Graphic 23">
              <a:extLst>
                <a:ext uri="{FF2B5EF4-FFF2-40B4-BE49-F238E27FC236}">
                  <a16:creationId xmlns:a16="http://schemas.microsoft.com/office/drawing/2014/main" id="{0B71CDFF-7A16-4F4D-9657-1115FA18BD7D}"/>
                </a:ext>
              </a:extLst>
            </p:cNvPr>
            <p:cNvSpPr/>
            <p:nvPr/>
          </p:nvSpPr>
          <p:spPr>
            <a:xfrm>
              <a:off x="2926" y="841552"/>
              <a:ext cx="12179198" cy="1248811"/>
            </a:xfrm>
            <a:custGeom>
              <a:avLst/>
              <a:gdLst>
                <a:gd name="connsiteX0" fmla="*/ 0 w 12179198"/>
                <a:gd name="connsiteY0" fmla="*/ 1141690 h 1248811"/>
                <a:gd name="connsiteX1" fmla="*/ 52913 w 12179198"/>
                <a:gd name="connsiteY1" fmla="*/ 1116209 h 1248811"/>
                <a:gd name="connsiteX2" fmla="*/ 1681155 w 12179198"/>
                <a:gd name="connsiteY2" fmla="*/ 1018673 h 1248811"/>
                <a:gd name="connsiteX3" fmla="*/ 2015703 w 12179198"/>
                <a:gd name="connsiteY3" fmla="*/ 1133034 h 1248811"/>
                <a:gd name="connsiteX4" fmla="*/ 3621024 w 12179198"/>
                <a:gd name="connsiteY4" fmla="*/ 1046471 h 1248811"/>
                <a:gd name="connsiteX5" fmla="*/ 3873764 w 12179198"/>
                <a:gd name="connsiteY5" fmla="*/ 928452 h 1248811"/>
                <a:gd name="connsiteX6" fmla="*/ 5481035 w 12179198"/>
                <a:gd name="connsiteY6" fmla="*/ 842499 h 1248811"/>
                <a:gd name="connsiteX7" fmla="*/ 5790225 w 12179198"/>
                <a:gd name="connsiteY7" fmla="*/ 948569 h 1248811"/>
                <a:gd name="connsiteX8" fmla="*/ 7539411 w 12179198"/>
                <a:gd name="connsiteY8" fmla="*/ 790073 h 1248811"/>
                <a:gd name="connsiteX9" fmla="*/ 7564649 w 12179198"/>
                <a:gd name="connsiteY9" fmla="*/ 775930 h 1248811"/>
                <a:gd name="connsiteX10" fmla="*/ 9381256 w 12179198"/>
                <a:gd name="connsiteY10" fmla="*/ 641818 h 1248811"/>
                <a:gd name="connsiteX11" fmla="*/ 9488180 w 12179198"/>
                <a:gd name="connsiteY11" fmla="*/ 682540 h 1248811"/>
                <a:gd name="connsiteX12" fmla="*/ 11414516 w 12179198"/>
                <a:gd name="connsiteY12" fmla="*/ 482835 h 1248811"/>
                <a:gd name="connsiteX13" fmla="*/ 11851721 w 12179198"/>
                <a:gd name="connsiteY13" fmla="*/ 202419 h 1248811"/>
                <a:gd name="connsiteX14" fmla="*/ 12179198 w 12179198"/>
                <a:gd name="connsiteY14" fmla="*/ -212 h 124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198" h="1248811">
                  <a:moveTo>
                    <a:pt x="0" y="1141690"/>
                  </a:moveTo>
                  <a:lnTo>
                    <a:pt x="52913" y="1116209"/>
                  </a:lnTo>
                  <a:cubicBezTo>
                    <a:pt x="561786" y="871113"/>
                    <a:pt x="1146662" y="836074"/>
                    <a:pt x="1681155" y="1018673"/>
                  </a:cubicBezTo>
                  <a:lnTo>
                    <a:pt x="2015703" y="1133034"/>
                  </a:lnTo>
                  <a:cubicBezTo>
                    <a:pt x="2541861" y="1312903"/>
                    <a:pt x="3117250" y="1281874"/>
                    <a:pt x="3621024" y="1046471"/>
                  </a:cubicBezTo>
                  <a:lnTo>
                    <a:pt x="3873764" y="928452"/>
                  </a:lnTo>
                  <a:cubicBezTo>
                    <a:pt x="4378184" y="692769"/>
                    <a:pt x="4954365" y="661960"/>
                    <a:pt x="5481035" y="842499"/>
                  </a:cubicBezTo>
                  <a:lnTo>
                    <a:pt x="5790225" y="948569"/>
                  </a:lnTo>
                  <a:cubicBezTo>
                    <a:pt x="6369260" y="1147165"/>
                    <a:pt x="7005499" y="1089521"/>
                    <a:pt x="7539411" y="790073"/>
                  </a:cubicBezTo>
                  <a:lnTo>
                    <a:pt x="7564649" y="775930"/>
                  </a:lnTo>
                  <a:cubicBezTo>
                    <a:pt x="8120384" y="464205"/>
                    <a:pt x="8785774" y="415084"/>
                    <a:pt x="9381256" y="641818"/>
                  </a:cubicBezTo>
                  <a:lnTo>
                    <a:pt x="9488180" y="682540"/>
                  </a:lnTo>
                  <a:cubicBezTo>
                    <a:pt x="10125626" y="925221"/>
                    <a:pt x="10840407" y="851119"/>
                    <a:pt x="11414516" y="482835"/>
                  </a:cubicBezTo>
                  <a:lnTo>
                    <a:pt x="11851721" y="202419"/>
                  </a:lnTo>
                  <a:lnTo>
                    <a:pt x="1217919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38" name="Graphic 23">
              <a:extLst>
                <a:ext uri="{FF2B5EF4-FFF2-40B4-BE49-F238E27FC236}">
                  <a16:creationId xmlns:a16="http://schemas.microsoft.com/office/drawing/2014/main" id="{0B71CDFF-7A16-4F4D-9657-1115FA18BD7D}"/>
                </a:ext>
              </a:extLst>
            </p:cNvPr>
            <p:cNvSpPr/>
            <p:nvPr/>
          </p:nvSpPr>
          <p:spPr>
            <a:xfrm>
              <a:off x="2926" y="859231"/>
              <a:ext cx="12179808" cy="1367113"/>
            </a:xfrm>
            <a:custGeom>
              <a:avLst/>
              <a:gdLst>
                <a:gd name="connsiteX0" fmla="*/ 0 w 12179808"/>
                <a:gd name="connsiteY0" fmla="*/ 1291408 h 1367113"/>
                <a:gd name="connsiteX1" fmla="*/ 54132 w 12179808"/>
                <a:gd name="connsiteY1" fmla="*/ 1264464 h 1367113"/>
                <a:gd name="connsiteX2" fmla="*/ 1685666 w 12179808"/>
                <a:gd name="connsiteY2" fmla="*/ 1148518 h 1367113"/>
                <a:gd name="connsiteX3" fmla="*/ 2017288 w 12179808"/>
                <a:gd name="connsiteY3" fmla="*/ 1258246 h 1367113"/>
                <a:gd name="connsiteX4" fmla="*/ 3625291 w 12179808"/>
                <a:gd name="connsiteY4" fmla="*/ 1153883 h 1367113"/>
                <a:gd name="connsiteX5" fmla="*/ 3871691 w 12179808"/>
                <a:gd name="connsiteY5" fmla="*/ 1035133 h 1367113"/>
                <a:gd name="connsiteX6" fmla="*/ 5481035 w 12179808"/>
                <a:gd name="connsiteY6" fmla="*/ 930891 h 1367113"/>
                <a:gd name="connsiteX7" fmla="*/ 5788274 w 12179808"/>
                <a:gd name="connsiteY7" fmla="*/ 1032572 h 1367113"/>
                <a:gd name="connsiteX8" fmla="*/ 7537704 w 12179808"/>
                <a:gd name="connsiteY8" fmla="*/ 853228 h 1367113"/>
                <a:gd name="connsiteX9" fmla="*/ 7557942 w 12179808"/>
                <a:gd name="connsiteY9" fmla="*/ 841036 h 1367113"/>
                <a:gd name="connsiteX10" fmla="*/ 9377720 w 12179808"/>
                <a:gd name="connsiteY10" fmla="*/ 686685 h 1367113"/>
                <a:gd name="connsiteX11" fmla="*/ 9480865 w 12179808"/>
                <a:gd name="connsiteY11" fmla="*/ 724846 h 1367113"/>
                <a:gd name="connsiteX12" fmla="*/ 11410127 w 12179808"/>
                <a:gd name="connsiteY12" fmla="*/ 502952 h 1367113"/>
                <a:gd name="connsiteX13" fmla="*/ 11839895 w 12179808"/>
                <a:gd name="connsiteY13" fmla="*/ 219488 h 1367113"/>
                <a:gd name="connsiteX14" fmla="*/ 12179808 w 12179808"/>
                <a:gd name="connsiteY14" fmla="*/ -212 h 136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367113">
                  <a:moveTo>
                    <a:pt x="0" y="1291408"/>
                  </a:moveTo>
                  <a:lnTo>
                    <a:pt x="54132" y="1264464"/>
                  </a:lnTo>
                  <a:cubicBezTo>
                    <a:pt x="561482" y="1012443"/>
                    <a:pt x="1147775" y="970783"/>
                    <a:pt x="1685666" y="1148518"/>
                  </a:cubicBezTo>
                  <a:lnTo>
                    <a:pt x="2017288" y="1258246"/>
                  </a:lnTo>
                  <a:cubicBezTo>
                    <a:pt x="2546555" y="1433201"/>
                    <a:pt x="3123078" y="1395784"/>
                    <a:pt x="3625291" y="1153883"/>
                  </a:cubicBezTo>
                  <a:lnTo>
                    <a:pt x="3871691" y="1035133"/>
                  </a:lnTo>
                  <a:cubicBezTo>
                    <a:pt x="4374294" y="792877"/>
                    <a:pt x="4951379" y="755497"/>
                    <a:pt x="5481035" y="930891"/>
                  </a:cubicBezTo>
                  <a:lnTo>
                    <a:pt x="5788274" y="1032572"/>
                  </a:lnTo>
                  <a:cubicBezTo>
                    <a:pt x="6370320" y="1224925"/>
                    <a:pt x="7006791" y="1159686"/>
                    <a:pt x="7537704" y="853228"/>
                  </a:cubicBezTo>
                  <a:lnTo>
                    <a:pt x="7557942" y="841036"/>
                  </a:lnTo>
                  <a:cubicBezTo>
                    <a:pt x="8111459" y="521727"/>
                    <a:pt x="8778325" y="465169"/>
                    <a:pt x="9377720" y="686685"/>
                  </a:cubicBezTo>
                  <a:lnTo>
                    <a:pt x="9480865" y="724846"/>
                  </a:lnTo>
                  <a:cubicBezTo>
                    <a:pt x="10122627" y="962078"/>
                    <a:pt x="10838980" y="879697"/>
                    <a:pt x="11410127" y="502952"/>
                  </a:cubicBezTo>
                  <a:lnTo>
                    <a:pt x="11839895" y="219488"/>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39" name="Graphic 23">
              <a:extLst>
                <a:ext uri="{FF2B5EF4-FFF2-40B4-BE49-F238E27FC236}">
                  <a16:creationId xmlns:a16="http://schemas.microsoft.com/office/drawing/2014/main" id="{0B71CDFF-7A16-4F4D-9657-1115FA18BD7D}"/>
                </a:ext>
              </a:extLst>
            </p:cNvPr>
            <p:cNvSpPr/>
            <p:nvPr/>
          </p:nvSpPr>
          <p:spPr>
            <a:xfrm>
              <a:off x="2926" y="874958"/>
              <a:ext cx="12179808" cy="1481837"/>
            </a:xfrm>
            <a:custGeom>
              <a:avLst/>
              <a:gdLst>
                <a:gd name="connsiteX0" fmla="*/ 0 w 12179808"/>
                <a:gd name="connsiteY0" fmla="*/ 1439907 h 1481837"/>
                <a:gd name="connsiteX1" fmla="*/ 62057 w 12179808"/>
                <a:gd name="connsiteY1" fmla="*/ 1408208 h 1481837"/>
                <a:gd name="connsiteX2" fmla="*/ 1691152 w 12179808"/>
                <a:gd name="connsiteY2" fmla="*/ 1274096 h 1481837"/>
                <a:gd name="connsiteX3" fmla="*/ 2024603 w 12179808"/>
                <a:gd name="connsiteY3" fmla="*/ 1380288 h 1481837"/>
                <a:gd name="connsiteX4" fmla="*/ 3630899 w 12179808"/>
                <a:gd name="connsiteY4" fmla="*/ 1258368 h 1481837"/>
                <a:gd name="connsiteX5" fmla="*/ 3873276 w 12179808"/>
                <a:gd name="connsiteY5" fmla="*/ 1138277 h 1481837"/>
                <a:gd name="connsiteX6" fmla="*/ 5481889 w 12179808"/>
                <a:gd name="connsiteY6" fmla="*/ 1016357 h 1481837"/>
                <a:gd name="connsiteX7" fmla="*/ 5789006 w 12179808"/>
                <a:gd name="connsiteY7" fmla="*/ 1114503 h 1481837"/>
                <a:gd name="connsiteX8" fmla="*/ 7537948 w 12179808"/>
                <a:gd name="connsiteY8" fmla="*/ 916748 h 1481837"/>
                <a:gd name="connsiteX9" fmla="*/ 7555748 w 12179808"/>
                <a:gd name="connsiteY9" fmla="*/ 906141 h 1481837"/>
                <a:gd name="connsiteX10" fmla="*/ 9373331 w 12179808"/>
                <a:gd name="connsiteY10" fmla="*/ 731552 h 1481837"/>
                <a:gd name="connsiteX11" fmla="*/ 9476354 w 12179808"/>
                <a:gd name="connsiteY11" fmla="*/ 768128 h 1481837"/>
                <a:gd name="connsiteX12" fmla="*/ 11403421 w 12179808"/>
                <a:gd name="connsiteY12" fmla="*/ 524288 h 1481837"/>
                <a:gd name="connsiteX13" fmla="*/ 11827825 w 12179808"/>
                <a:gd name="connsiteY13" fmla="*/ 237288 h 1481837"/>
                <a:gd name="connsiteX14" fmla="*/ 12179808 w 12179808"/>
                <a:gd name="connsiteY14" fmla="*/ -212 h 1481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481837">
                  <a:moveTo>
                    <a:pt x="0" y="1439907"/>
                  </a:moveTo>
                  <a:lnTo>
                    <a:pt x="62057" y="1408208"/>
                  </a:lnTo>
                  <a:cubicBezTo>
                    <a:pt x="566274" y="1150835"/>
                    <a:pt x="1151634" y="1102652"/>
                    <a:pt x="1691152" y="1274096"/>
                  </a:cubicBezTo>
                  <a:lnTo>
                    <a:pt x="2024603" y="1380288"/>
                  </a:lnTo>
                  <a:cubicBezTo>
                    <a:pt x="2555602" y="1549355"/>
                    <a:pt x="3131503" y="1505646"/>
                    <a:pt x="3630899" y="1258368"/>
                  </a:cubicBezTo>
                  <a:lnTo>
                    <a:pt x="3873276" y="1138277"/>
                  </a:lnTo>
                  <a:cubicBezTo>
                    <a:pt x="4373343" y="890438"/>
                    <a:pt x="4950184" y="846718"/>
                    <a:pt x="5481889" y="1016357"/>
                  </a:cubicBezTo>
                  <a:lnTo>
                    <a:pt x="5789006" y="1114503"/>
                  </a:lnTo>
                  <a:cubicBezTo>
                    <a:pt x="6373490" y="1301174"/>
                    <a:pt x="7009900" y="1229217"/>
                    <a:pt x="7537948" y="916748"/>
                  </a:cubicBezTo>
                  <a:lnTo>
                    <a:pt x="7555748" y="906141"/>
                  </a:lnTo>
                  <a:cubicBezTo>
                    <a:pt x="8105571" y="580773"/>
                    <a:pt x="8771619" y="516802"/>
                    <a:pt x="9373331" y="731552"/>
                  </a:cubicBezTo>
                  <a:lnTo>
                    <a:pt x="9476354" y="768128"/>
                  </a:lnTo>
                  <a:cubicBezTo>
                    <a:pt x="10120908" y="998215"/>
                    <a:pt x="10836493" y="907678"/>
                    <a:pt x="11403421" y="524288"/>
                  </a:cubicBezTo>
                  <a:lnTo>
                    <a:pt x="11827825" y="237288"/>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0" name="Graphic 23">
              <a:extLst>
                <a:ext uri="{FF2B5EF4-FFF2-40B4-BE49-F238E27FC236}">
                  <a16:creationId xmlns:a16="http://schemas.microsoft.com/office/drawing/2014/main" id="{0B71CDFF-7A16-4F4D-9657-1115FA18BD7D}"/>
                </a:ext>
              </a:extLst>
            </p:cNvPr>
            <p:cNvSpPr/>
            <p:nvPr/>
          </p:nvSpPr>
          <p:spPr>
            <a:xfrm>
              <a:off x="2926" y="890564"/>
              <a:ext cx="12179808" cy="1597956"/>
            </a:xfrm>
            <a:custGeom>
              <a:avLst/>
              <a:gdLst>
                <a:gd name="connsiteX0" fmla="*/ 0 w 12179808"/>
                <a:gd name="connsiteY0" fmla="*/ 1588771 h 1597956"/>
                <a:gd name="connsiteX1" fmla="*/ 69494 w 12179808"/>
                <a:gd name="connsiteY1" fmla="*/ 1552195 h 1597956"/>
                <a:gd name="connsiteX2" fmla="*/ 1697004 w 12179808"/>
                <a:gd name="connsiteY2" fmla="*/ 1401136 h 1597956"/>
                <a:gd name="connsiteX3" fmla="*/ 2029968 w 12179808"/>
                <a:gd name="connsiteY3" fmla="*/ 1503427 h 1597956"/>
                <a:gd name="connsiteX4" fmla="*/ 3636020 w 12179808"/>
                <a:gd name="connsiteY4" fmla="*/ 1363341 h 1597956"/>
                <a:gd name="connsiteX5" fmla="*/ 3875105 w 12179808"/>
                <a:gd name="connsiteY5" fmla="*/ 1241421 h 1597956"/>
                <a:gd name="connsiteX6" fmla="*/ 5483108 w 12179808"/>
                <a:gd name="connsiteY6" fmla="*/ 1102310 h 1597956"/>
                <a:gd name="connsiteX7" fmla="*/ 5790468 w 12179808"/>
                <a:gd name="connsiteY7" fmla="*/ 1196798 h 1597956"/>
                <a:gd name="connsiteX8" fmla="*/ 7537704 w 12179808"/>
                <a:gd name="connsiteY8" fmla="*/ 979415 h 1597956"/>
                <a:gd name="connsiteX9" fmla="*/ 7551968 w 12179808"/>
                <a:gd name="connsiteY9" fmla="*/ 970759 h 1597956"/>
                <a:gd name="connsiteX10" fmla="*/ 9368576 w 12179808"/>
                <a:gd name="connsiteY10" fmla="*/ 775687 h 1597956"/>
                <a:gd name="connsiteX11" fmla="*/ 9471111 w 12179808"/>
                <a:gd name="connsiteY11" fmla="*/ 811043 h 1597956"/>
                <a:gd name="connsiteX12" fmla="*/ 11395862 w 12179808"/>
                <a:gd name="connsiteY12" fmla="*/ 545624 h 1597956"/>
                <a:gd name="connsiteX13" fmla="*/ 11815633 w 12179808"/>
                <a:gd name="connsiteY13" fmla="*/ 254844 h 1597956"/>
                <a:gd name="connsiteX14" fmla="*/ 12179808 w 12179808"/>
                <a:gd name="connsiteY14" fmla="*/ -212 h 1597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597956">
                  <a:moveTo>
                    <a:pt x="0" y="1588771"/>
                  </a:moveTo>
                  <a:lnTo>
                    <a:pt x="69494" y="1552195"/>
                  </a:lnTo>
                  <a:cubicBezTo>
                    <a:pt x="570966" y="1289579"/>
                    <a:pt x="1155766" y="1235301"/>
                    <a:pt x="1697004" y="1401136"/>
                  </a:cubicBezTo>
                  <a:lnTo>
                    <a:pt x="2029968" y="1503427"/>
                  </a:lnTo>
                  <a:cubicBezTo>
                    <a:pt x="2563222" y="1666800"/>
                    <a:pt x="3139098" y="1616569"/>
                    <a:pt x="3636020" y="1363341"/>
                  </a:cubicBezTo>
                  <a:lnTo>
                    <a:pt x="3875105" y="1241421"/>
                  </a:lnTo>
                  <a:cubicBezTo>
                    <a:pt x="4372698" y="987962"/>
                    <a:pt x="4949379" y="938060"/>
                    <a:pt x="5483108" y="1102310"/>
                  </a:cubicBezTo>
                  <a:lnTo>
                    <a:pt x="5790468" y="1196798"/>
                  </a:lnTo>
                  <a:cubicBezTo>
                    <a:pt x="6377208" y="1377106"/>
                    <a:pt x="7013034" y="1298004"/>
                    <a:pt x="7537704" y="979415"/>
                  </a:cubicBezTo>
                  <a:lnTo>
                    <a:pt x="7551968" y="970759"/>
                  </a:lnTo>
                  <a:cubicBezTo>
                    <a:pt x="8098377" y="638868"/>
                    <a:pt x="8764158" y="567386"/>
                    <a:pt x="9368576" y="775687"/>
                  </a:cubicBezTo>
                  <a:lnTo>
                    <a:pt x="9471111" y="811043"/>
                  </a:lnTo>
                  <a:cubicBezTo>
                    <a:pt x="10118360" y="1034084"/>
                    <a:pt x="10833140" y="935512"/>
                    <a:pt x="11395862" y="545624"/>
                  </a:cubicBezTo>
                  <a:lnTo>
                    <a:pt x="11815633" y="254844"/>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1" name="Graphic 23">
              <a:extLst>
                <a:ext uri="{FF2B5EF4-FFF2-40B4-BE49-F238E27FC236}">
                  <a16:creationId xmlns:a16="http://schemas.microsoft.com/office/drawing/2014/main" id="{0B71CDFF-7A16-4F4D-9657-1115FA18BD7D}"/>
                </a:ext>
              </a:extLst>
            </p:cNvPr>
            <p:cNvSpPr/>
            <p:nvPr/>
          </p:nvSpPr>
          <p:spPr>
            <a:xfrm>
              <a:off x="2926" y="906779"/>
              <a:ext cx="12179808" cy="1737482"/>
            </a:xfrm>
            <a:custGeom>
              <a:avLst/>
              <a:gdLst>
                <a:gd name="connsiteX0" fmla="*/ 0 w 12179808"/>
                <a:gd name="connsiteY0" fmla="*/ 1737270 h 1737482"/>
                <a:gd name="connsiteX1" fmla="*/ 75224 w 12179808"/>
                <a:gd name="connsiteY1" fmla="*/ 1696670 h 1737482"/>
                <a:gd name="connsiteX2" fmla="*/ 1703100 w 12179808"/>
                <a:gd name="connsiteY2" fmla="*/ 1526592 h 1737482"/>
                <a:gd name="connsiteX3" fmla="*/ 2037649 w 12179808"/>
                <a:gd name="connsiteY3" fmla="*/ 1625103 h 1737482"/>
                <a:gd name="connsiteX4" fmla="*/ 3641994 w 12179808"/>
                <a:gd name="connsiteY4" fmla="*/ 1467461 h 1737482"/>
                <a:gd name="connsiteX5" fmla="*/ 3876934 w 12179808"/>
                <a:gd name="connsiteY5" fmla="*/ 1344566 h 1737482"/>
                <a:gd name="connsiteX6" fmla="*/ 5482620 w 12179808"/>
                <a:gd name="connsiteY6" fmla="*/ 1187289 h 1737482"/>
                <a:gd name="connsiteX7" fmla="*/ 5791931 w 12179808"/>
                <a:gd name="connsiteY7" fmla="*/ 1278607 h 1737482"/>
                <a:gd name="connsiteX8" fmla="*/ 7537460 w 12179808"/>
                <a:gd name="connsiteY8" fmla="*/ 1041472 h 1737482"/>
                <a:gd name="connsiteX9" fmla="*/ 7549652 w 12179808"/>
                <a:gd name="connsiteY9" fmla="*/ 1034035 h 1737482"/>
                <a:gd name="connsiteX10" fmla="*/ 9365041 w 12179808"/>
                <a:gd name="connsiteY10" fmla="*/ 818846 h 1737482"/>
                <a:gd name="connsiteX11" fmla="*/ 9467210 w 12179808"/>
                <a:gd name="connsiteY11" fmla="*/ 852740 h 1737482"/>
                <a:gd name="connsiteX12" fmla="*/ 11389522 w 12179808"/>
                <a:gd name="connsiteY12" fmla="*/ 566350 h 1737482"/>
                <a:gd name="connsiteX13" fmla="*/ 11804050 w 12179808"/>
                <a:gd name="connsiteY13" fmla="*/ 272523 h 1737482"/>
                <a:gd name="connsiteX14" fmla="*/ 12179808 w 12179808"/>
                <a:gd name="connsiteY14" fmla="*/ -212 h 173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737482">
                  <a:moveTo>
                    <a:pt x="0" y="1737270"/>
                  </a:moveTo>
                  <a:lnTo>
                    <a:pt x="75224" y="1696670"/>
                  </a:lnTo>
                  <a:cubicBezTo>
                    <a:pt x="574199" y="1427556"/>
                    <a:pt x="1159275" y="1366426"/>
                    <a:pt x="1703100" y="1526592"/>
                  </a:cubicBezTo>
                  <a:lnTo>
                    <a:pt x="2037649" y="1625103"/>
                  </a:lnTo>
                  <a:cubicBezTo>
                    <a:pt x="2572634" y="1782661"/>
                    <a:pt x="3147913" y="1726126"/>
                    <a:pt x="3641994" y="1467461"/>
                  </a:cubicBezTo>
                  <a:lnTo>
                    <a:pt x="3876934" y="1344566"/>
                  </a:lnTo>
                  <a:cubicBezTo>
                    <a:pt x="4371454" y="1085705"/>
                    <a:pt x="4947270" y="1029305"/>
                    <a:pt x="5482620" y="1187289"/>
                  </a:cubicBezTo>
                  <a:lnTo>
                    <a:pt x="5791931" y="1278607"/>
                  </a:lnTo>
                  <a:cubicBezTo>
                    <a:pt x="6380939" y="1452513"/>
                    <a:pt x="7016204" y="1366219"/>
                    <a:pt x="7537460" y="1041472"/>
                  </a:cubicBezTo>
                  <a:lnTo>
                    <a:pt x="7549652" y="1034035"/>
                  </a:lnTo>
                  <a:cubicBezTo>
                    <a:pt x="8092623" y="695756"/>
                    <a:pt x="8758038" y="616886"/>
                    <a:pt x="9365041" y="818846"/>
                  </a:cubicBezTo>
                  <a:lnTo>
                    <a:pt x="9467210" y="852740"/>
                  </a:lnTo>
                  <a:cubicBezTo>
                    <a:pt x="10117019" y="1068941"/>
                    <a:pt x="10830958" y="962578"/>
                    <a:pt x="11389522" y="566350"/>
                  </a:cubicBezTo>
                  <a:lnTo>
                    <a:pt x="11804050" y="272523"/>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2" name="Graphic 23">
              <a:extLst>
                <a:ext uri="{FF2B5EF4-FFF2-40B4-BE49-F238E27FC236}">
                  <a16:creationId xmlns:a16="http://schemas.microsoft.com/office/drawing/2014/main" id="{0B71CDFF-7A16-4F4D-9657-1115FA18BD7D}"/>
                </a:ext>
              </a:extLst>
            </p:cNvPr>
            <p:cNvSpPr/>
            <p:nvPr/>
          </p:nvSpPr>
          <p:spPr>
            <a:xfrm>
              <a:off x="2926" y="922019"/>
              <a:ext cx="12179808" cy="1887199"/>
            </a:xfrm>
            <a:custGeom>
              <a:avLst/>
              <a:gdLst>
                <a:gd name="connsiteX0" fmla="*/ 0 w 12179808"/>
                <a:gd name="connsiteY0" fmla="*/ 1886988 h 1887199"/>
                <a:gd name="connsiteX1" fmla="*/ 82783 w 12179808"/>
                <a:gd name="connsiteY1" fmla="*/ 1841146 h 1887199"/>
                <a:gd name="connsiteX2" fmla="*/ 1708831 w 12179808"/>
                <a:gd name="connsiteY2" fmla="*/ 1653633 h 1887199"/>
                <a:gd name="connsiteX3" fmla="*/ 2043379 w 12179808"/>
                <a:gd name="connsiteY3" fmla="*/ 1748243 h 1887199"/>
                <a:gd name="connsiteX4" fmla="*/ 3647115 w 12179808"/>
                <a:gd name="connsiteY4" fmla="*/ 1572922 h 1887199"/>
                <a:gd name="connsiteX5" fmla="*/ 3878763 w 12179808"/>
                <a:gd name="connsiteY5" fmla="*/ 1448198 h 1887199"/>
                <a:gd name="connsiteX6" fmla="*/ 5483230 w 12179808"/>
                <a:gd name="connsiteY6" fmla="*/ 1273120 h 1887199"/>
                <a:gd name="connsiteX7" fmla="*/ 5793516 w 12179808"/>
                <a:gd name="connsiteY7" fmla="*/ 1361025 h 1887199"/>
                <a:gd name="connsiteX8" fmla="*/ 7536972 w 12179808"/>
                <a:gd name="connsiteY8" fmla="*/ 1104993 h 1887199"/>
                <a:gd name="connsiteX9" fmla="*/ 7546604 w 12179808"/>
                <a:gd name="connsiteY9" fmla="*/ 1098775 h 1887199"/>
                <a:gd name="connsiteX10" fmla="*/ 9358701 w 12179808"/>
                <a:gd name="connsiteY10" fmla="*/ 863591 h 1887199"/>
                <a:gd name="connsiteX11" fmla="*/ 9462699 w 12179808"/>
                <a:gd name="connsiteY11" fmla="*/ 896875 h 1887199"/>
                <a:gd name="connsiteX12" fmla="*/ 11382085 w 12179808"/>
                <a:gd name="connsiteY12" fmla="*/ 588296 h 1887199"/>
                <a:gd name="connsiteX13" fmla="*/ 11791493 w 12179808"/>
                <a:gd name="connsiteY13" fmla="*/ 290567 h 1887199"/>
                <a:gd name="connsiteX14" fmla="*/ 12179808 w 12179808"/>
                <a:gd name="connsiteY14" fmla="*/ -212 h 188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887199">
                  <a:moveTo>
                    <a:pt x="0" y="1886988"/>
                  </a:moveTo>
                  <a:lnTo>
                    <a:pt x="82783" y="1841146"/>
                  </a:lnTo>
                  <a:cubicBezTo>
                    <a:pt x="578874" y="1566692"/>
                    <a:pt x="1163292" y="1499294"/>
                    <a:pt x="1708831" y="1653633"/>
                  </a:cubicBezTo>
                  <a:lnTo>
                    <a:pt x="2043379" y="1748243"/>
                  </a:lnTo>
                  <a:cubicBezTo>
                    <a:pt x="2580449" y="1900253"/>
                    <a:pt x="3155582" y="1837378"/>
                    <a:pt x="3647115" y="1572922"/>
                  </a:cubicBezTo>
                  <a:lnTo>
                    <a:pt x="3878763" y="1448198"/>
                  </a:lnTo>
                  <a:cubicBezTo>
                    <a:pt x="4370540" y="1183631"/>
                    <a:pt x="4945965" y="1120842"/>
                    <a:pt x="5483230" y="1273120"/>
                  </a:cubicBezTo>
                  <a:lnTo>
                    <a:pt x="5793516" y="1361025"/>
                  </a:lnTo>
                  <a:cubicBezTo>
                    <a:pt x="6384561" y="1528701"/>
                    <a:pt x="7019093" y="1435518"/>
                    <a:pt x="7536972" y="1104993"/>
                  </a:cubicBezTo>
                  <a:lnTo>
                    <a:pt x="7546604" y="1098775"/>
                  </a:lnTo>
                  <a:cubicBezTo>
                    <a:pt x="8085612" y="754814"/>
                    <a:pt x="8749747" y="668617"/>
                    <a:pt x="9358701" y="863591"/>
                  </a:cubicBezTo>
                  <a:lnTo>
                    <a:pt x="9462699" y="896875"/>
                  </a:lnTo>
                  <a:cubicBezTo>
                    <a:pt x="10115117" y="1105724"/>
                    <a:pt x="10828008" y="991119"/>
                    <a:pt x="11382085" y="588296"/>
                  </a:cubicBezTo>
                  <a:lnTo>
                    <a:pt x="11791493" y="290567"/>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3" name="Graphic 23">
              <a:extLst>
                <a:ext uri="{FF2B5EF4-FFF2-40B4-BE49-F238E27FC236}">
                  <a16:creationId xmlns:a16="http://schemas.microsoft.com/office/drawing/2014/main" id="{0B71CDFF-7A16-4F4D-9657-1115FA18BD7D}"/>
                </a:ext>
              </a:extLst>
            </p:cNvPr>
            <p:cNvSpPr/>
            <p:nvPr/>
          </p:nvSpPr>
          <p:spPr>
            <a:xfrm>
              <a:off x="2926" y="937016"/>
              <a:ext cx="12179808" cy="2037770"/>
            </a:xfrm>
            <a:custGeom>
              <a:avLst/>
              <a:gdLst>
                <a:gd name="connsiteX0" fmla="*/ 0 w 12179808"/>
                <a:gd name="connsiteY0" fmla="*/ 2037559 h 2037770"/>
                <a:gd name="connsiteX1" fmla="*/ 89123 w 12179808"/>
                <a:gd name="connsiteY1" fmla="*/ 1986840 h 2037770"/>
                <a:gd name="connsiteX2" fmla="*/ 1714195 w 12179808"/>
                <a:gd name="connsiteY2" fmla="*/ 1780917 h 2037770"/>
                <a:gd name="connsiteX3" fmla="*/ 2050694 w 12179808"/>
                <a:gd name="connsiteY3" fmla="*/ 1872723 h 2037770"/>
                <a:gd name="connsiteX4" fmla="*/ 3652845 w 12179808"/>
                <a:gd name="connsiteY4" fmla="*/ 1679724 h 2037770"/>
                <a:gd name="connsiteX5" fmla="*/ 3881445 w 12179808"/>
                <a:gd name="connsiteY5" fmla="*/ 1553414 h 2037770"/>
                <a:gd name="connsiteX6" fmla="*/ 5484571 w 12179808"/>
                <a:gd name="connsiteY6" fmla="*/ 1360659 h 2037770"/>
                <a:gd name="connsiteX7" fmla="*/ 5794614 w 12179808"/>
                <a:gd name="connsiteY7" fmla="*/ 1444906 h 2037770"/>
                <a:gd name="connsiteX8" fmla="*/ 7535510 w 12179808"/>
                <a:gd name="connsiteY8" fmla="*/ 1169123 h 2037770"/>
                <a:gd name="connsiteX9" fmla="*/ 7543556 w 12179808"/>
                <a:gd name="connsiteY9" fmla="*/ 1163880 h 2037770"/>
                <a:gd name="connsiteX10" fmla="*/ 9354921 w 12179808"/>
                <a:gd name="connsiteY10" fmla="*/ 907970 h 2037770"/>
                <a:gd name="connsiteX11" fmla="*/ 9457212 w 12179808"/>
                <a:gd name="connsiteY11" fmla="*/ 939547 h 2037770"/>
                <a:gd name="connsiteX12" fmla="*/ 11374770 w 12179808"/>
                <a:gd name="connsiteY12" fmla="*/ 610363 h 2037770"/>
                <a:gd name="connsiteX13" fmla="*/ 11779301 w 12179808"/>
                <a:gd name="connsiteY13" fmla="*/ 309343 h 2037770"/>
                <a:gd name="connsiteX14" fmla="*/ 12179808 w 12179808"/>
                <a:gd name="connsiteY14" fmla="*/ -212 h 203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2037770">
                  <a:moveTo>
                    <a:pt x="0" y="2037559"/>
                  </a:moveTo>
                  <a:lnTo>
                    <a:pt x="89123" y="1986840"/>
                  </a:lnTo>
                  <a:cubicBezTo>
                    <a:pt x="582412" y="1706424"/>
                    <a:pt x="1166556" y="1632406"/>
                    <a:pt x="1714195" y="1780917"/>
                  </a:cubicBezTo>
                  <a:lnTo>
                    <a:pt x="2050694" y="1872723"/>
                  </a:lnTo>
                  <a:cubicBezTo>
                    <a:pt x="2589544" y="2018893"/>
                    <a:pt x="3164116" y="1949667"/>
                    <a:pt x="3652845" y="1679724"/>
                  </a:cubicBezTo>
                  <a:lnTo>
                    <a:pt x="3881445" y="1553414"/>
                  </a:lnTo>
                  <a:cubicBezTo>
                    <a:pt x="4370479" y="1283301"/>
                    <a:pt x="4945453" y="1214172"/>
                    <a:pt x="5484571" y="1360659"/>
                  </a:cubicBezTo>
                  <a:lnTo>
                    <a:pt x="5794614" y="1444906"/>
                  </a:lnTo>
                  <a:cubicBezTo>
                    <a:pt x="6387657" y="1605974"/>
                    <a:pt x="7021288" y="1505610"/>
                    <a:pt x="7535510" y="1169123"/>
                  </a:cubicBezTo>
                  <a:lnTo>
                    <a:pt x="7543556" y="1163880"/>
                  </a:lnTo>
                  <a:cubicBezTo>
                    <a:pt x="8079127" y="813141"/>
                    <a:pt x="8743151" y="719323"/>
                    <a:pt x="9354921" y="907970"/>
                  </a:cubicBezTo>
                  <a:lnTo>
                    <a:pt x="9457212" y="939547"/>
                  </a:lnTo>
                  <a:cubicBezTo>
                    <a:pt x="10112313" y="1141922"/>
                    <a:pt x="10824667" y="1019636"/>
                    <a:pt x="11374770" y="610363"/>
                  </a:cubicBezTo>
                  <a:lnTo>
                    <a:pt x="11779301" y="309343"/>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4" name="Graphic 23">
              <a:extLst>
                <a:ext uri="{FF2B5EF4-FFF2-40B4-BE49-F238E27FC236}">
                  <a16:creationId xmlns:a16="http://schemas.microsoft.com/office/drawing/2014/main" id="{0B71CDFF-7A16-4F4D-9657-1115FA18BD7D}"/>
                </a:ext>
              </a:extLst>
            </p:cNvPr>
            <p:cNvSpPr/>
            <p:nvPr/>
          </p:nvSpPr>
          <p:spPr>
            <a:xfrm>
              <a:off x="2926" y="951158"/>
              <a:ext cx="12179685" cy="2189073"/>
            </a:xfrm>
            <a:custGeom>
              <a:avLst/>
              <a:gdLst>
                <a:gd name="connsiteX0" fmla="*/ 0 w 12179685"/>
                <a:gd name="connsiteY0" fmla="*/ 2188862 h 2189073"/>
                <a:gd name="connsiteX1" fmla="*/ 97536 w 12179685"/>
                <a:gd name="connsiteY1" fmla="*/ 2132169 h 2189073"/>
                <a:gd name="connsiteX2" fmla="*/ 1719316 w 12179685"/>
                <a:gd name="connsiteY2" fmla="*/ 1908568 h 2189073"/>
                <a:gd name="connsiteX3" fmla="*/ 2057278 w 12179685"/>
                <a:gd name="connsiteY3" fmla="*/ 1996106 h 2189073"/>
                <a:gd name="connsiteX4" fmla="*/ 3657234 w 12179685"/>
                <a:gd name="connsiteY4" fmla="*/ 1785428 h 2189073"/>
                <a:gd name="connsiteX5" fmla="*/ 3883152 w 12179685"/>
                <a:gd name="connsiteY5" fmla="*/ 1657169 h 2189073"/>
                <a:gd name="connsiteX6" fmla="*/ 5484206 w 12179685"/>
                <a:gd name="connsiteY6" fmla="*/ 1446613 h 2189073"/>
                <a:gd name="connsiteX7" fmla="*/ 5797296 w 12179685"/>
                <a:gd name="connsiteY7" fmla="*/ 1527933 h 2189073"/>
                <a:gd name="connsiteX8" fmla="*/ 7534656 w 12179685"/>
                <a:gd name="connsiteY8" fmla="*/ 1233009 h 2189073"/>
                <a:gd name="connsiteX9" fmla="*/ 7540996 w 12179685"/>
                <a:gd name="connsiteY9" fmla="*/ 1228620 h 2189073"/>
                <a:gd name="connsiteX10" fmla="*/ 9348703 w 12179685"/>
                <a:gd name="connsiteY10" fmla="*/ 953202 h 2189073"/>
                <a:gd name="connsiteX11" fmla="*/ 9453189 w 12179685"/>
                <a:gd name="connsiteY11" fmla="*/ 984170 h 2189073"/>
                <a:gd name="connsiteX12" fmla="*/ 11367333 w 12179685"/>
                <a:gd name="connsiteY12" fmla="*/ 632553 h 2189073"/>
                <a:gd name="connsiteX13" fmla="*/ 11767109 w 12179685"/>
                <a:gd name="connsiteY13" fmla="*/ 327753 h 2189073"/>
                <a:gd name="connsiteX14" fmla="*/ 12179686 w 12179685"/>
                <a:gd name="connsiteY14" fmla="*/ -212 h 218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685" h="2189073">
                  <a:moveTo>
                    <a:pt x="0" y="2188862"/>
                  </a:moveTo>
                  <a:lnTo>
                    <a:pt x="97536" y="2132169"/>
                  </a:lnTo>
                  <a:cubicBezTo>
                    <a:pt x="587474" y="1846632"/>
                    <a:pt x="1170392" y="1766263"/>
                    <a:pt x="1719316" y="1908568"/>
                  </a:cubicBezTo>
                  <a:lnTo>
                    <a:pt x="2057278" y="1996106"/>
                  </a:lnTo>
                  <a:cubicBezTo>
                    <a:pt x="2597713" y="2136351"/>
                    <a:pt x="3171517" y="2060785"/>
                    <a:pt x="3657234" y="1785428"/>
                  </a:cubicBezTo>
                  <a:lnTo>
                    <a:pt x="3883152" y="1657169"/>
                  </a:lnTo>
                  <a:cubicBezTo>
                    <a:pt x="4369198" y="1381581"/>
                    <a:pt x="4943442" y="1306063"/>
                    <a:pt x="5484206" y="1446613"/>
                  </a:cubicBezTo>
                  <a:lnTo>
                    <a:pt x="5797296" y="1527933"/>
                  </a:lnTo>
                  <a:cubicBezTo>
                    <a:pt x="6391961" y="1682321"/>
                    <a:pt x="7024250" y="1574982"/>
                    <a:pt x="7534656" y="1233009"/>
                  </a:cubicBezTo>
                  <a:lnTo>
                    <a:pt x="7540996" y="1228620"/>
                  </a:lnTo>
                  <a:cubicBezTo>
                    <a:pt x="8072555" y="872369"/>
                    <a:pt x="8735178" y="771419"/>
                    <a:pt x="9348703" y="953202"/>
                  </a:cubicBezTo>
                  <a:lnTo>
                    <a:pt x="9453189" y="984170"/>
                  </a:lnTo>
                  <a:cubicBezTo>
                    <a:pt x="10110801" y="1178974"/>
                    <a:pt x="10821887" y="1048349"/>
                    <a:pt x="11367333" y="632553"/>
                  </a:cubicBezTo>
                  <a:lnTo>
                    <a:pt x="11767109" y="327753"/>
                  </a:lnTo>
                  <a:lnTo>
                    <a:pt x="12179686"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5" name="Graphic 23">
              <a:extLst>
                <a:ext uri="{FF2B5EF4-FFF2-40B4-BE49-F238E27FC236}">
                  <a16:creationId xmlns:a16="http://schemas.microsoft.com/office/drawing/2014/main" id="{0B71CDFF-7A16-4F4D-9657-1115FA18BD7D}"/>
                </a:ext>
              </a:extLst>
            </p:cNvPr>
            <p:cNvSpPr/>
            <p:nvPr/>
          </p:nvSpPr>
          <p:spPr>
            <a:xfrm>
              <a:off x="2926" y="966155"/>
              <a:ext cx="12180295" cy="2339888"/>
            </a:xfrm>
            <a:custGeom>
              <a:avLst/>
              <a:gdLst>
                <a:gd name="connsiteX0" fmla="*/ 0 w 12180295"/>
                <a:gd name="connsiteY0" fmla="*/ 2339677 h 2339888"/>
                <a:gd name="connsiteX1" fmla="*/ 104973 w 12180295"/>
                <a:gd name="connsiteY1" fmla="*/ 2276888 h 2339888"/>
                <a:gd name="connsiteX2" fmla="*/ 1725168 w 12180295"/>
                <a:gd name="connsiteY2" fmla="*/ 2035730 h 2339888"/>
                <a:gd name="connsiteX3" fmla="*/ 2064349 w 12180295"/>
                <a:gd name="connsiteY3" fmla="*/ 2119733 h 2339888"/>
                <a:gd name="connsiteX4" fmla="*/ 3663696 w 12180295"/>
                <a:gd name="connsiteY4" fmla="*/ 1890767 h 2339888"/>
                <a:gd name="connsiteX5" fmla="*/ 3885468 w 12180295"/>
                <a:gd name="connsiteY5" fmla="*/ 1761654 h 2339888"/>
                <a:gd name="connsiteX6" fmla="*/ 5486278 w 12180295"/>
                <a:gd name="connsiteY6" fmla="*/ 1533054 h 2339888"/>
                <a:gd name="connsiteX7" fmla="*/ 5798759 w 12180295"/>
                <a:gd name="connsiteY7" fmla="*/ 1610717 h 2339888"/>
                <a:gd name="connsiteX8" fmla="*/ 7535143 w 12180295"/>
                <a:gd name="connsiteY8" fmla="*/ 1296285 h 2339888"/>
                <a:gd name="connsiteX9" fmla="*/ 7539289 w 12180295"/>
                <a:gd name="connsiteY9" fmla="*/ 1293481 h 2339888"/>
                <a:gd name="connsiteX10" fmla="*/ 9345168 w 12180295"/>
                <a:gd name="connsiteY10" fmla="*/ 997581 h 2339888"/>
                <a:gd name="connsiteX11" fmla="*/ 9449897 w 12180295"/>
                <a:gd name="connsiteY11" fmla="*/ 1027451 h 2339888"/>
                <a:gd name="connsiteX12" fmla="*/ 11360871 w 12180295"/>
                <a:gd name="connsiteY12" fmla="*/ 654620 h 2339888"/>
                <a:gd name="connsiteX13" fmla="*/ 11755648 w 12180295"/>
                <a:gd name="connsiteY13" fmla="*/ 346650 h 2339888"/>
                <a:gd name="connsiteX14" fmla="*/ 12180295 w 12180295"/>
                <a:gd name="connsiteY14" fmla="*/ -212 h 233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0295" h="2339888">
                  <a:moveTo>
                    <a:pt x="0" y="2339677"/>
                  </a:moveTo>
                  <a:lnTo>
                    <a:pt x="104973" y="2276888"/>
                  </a:lnTo>
                  <a:cubicBezTo>
                    <a:pt x="592055" y="1985853"/>
                    <a:pt x="1174439" y="1899167"/>
                    <a:pt x="1725168" y="2035730"/>
                  </a:cubicBezTo>
                  <a:lnTo>
                    <a:pt x="2064349" y="2119733"/>
                  </a:lnTo>
                  <a:cubicBezTo>
                    <a:pt x="2606954" y="2254284"/>
                    <a:pt x="3180637" y="2172159"/>
                    <a:pt x="3663696" y="1890767"/>
                  </a:cubicBezTo>
                  <a:lnTo>
                    <a:pt x="3885468" y="1761654"/>
                  </a:lnTo>
                  <a:cubicBezTo>
                    <a:pt x="4368979" y="1480006"/>
                    <a:pt x="4943258" y="1397991"/>
                    <a:pt x="5486278" y="1533054"/>
                  </a:cubicBezTo>
                  <a:lnTo>
                    <a:pt x="5798759" y="1610717"/>
                  </a:lnTo>
                  <a:cubicBezTo>
                    <a:pt x="6395886" y="1759215"/>
                    <a:pt x="7028018" y="1644745"/>
                    <a:pt x="7535143" y="1296285"/>
                  </a:cubicBezTo>
                  <a:lnTo>
                    <a:pt x="7539289" y="1293481"/>
                  </a:lnTo>
                  <a:cubicBezTo>
                    <a:pt x="8067130" y="930793"/>
                    <a:pt x="8729179" y="822321"/>
                    <a:pt x="9345168" y="997581"/>
                  </a:cubicBezTo>
                  <a:lnTo>
                    <a:pt x="9449897" y="1027451"/>
                  </a:lnTo>
                  <a:cubicBezTo>
                    <a:pt x="10109887" y="1215233"/>
                    <a:pt x="10819863" y="1076720"/>
                    <a:pt x="11360871" y="654620"/>
                  </a:cubicBezTo>
                  <a:lnTo>
                    <a:pt x="11755648" y="346650"/>
                  </a:lnTo>
                  <a:lnTo>
                    <a:pt x="12180295"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6" name="Graphic 23">
              <a:extLst>
                <a:ext uri="{FF2B5EF4-FFF2-40B4-BE49-F238E27FC236}">
                  <a16:creationId xmlns:a16="http://schemas.microsoft.com/office/drawing/2014/main" id="{0B71CDFF-7A16-4F4D-9657-1115FA18BD7D}"/>
                </a:ext>
              </a:extLst>
            </p:cNvPr>
            <p:cNvSpPr/>
            <p:nvPr/>
          </p:nvSpPr>
          <p:spPr>
            <a:xfrm>
              <a:off x="2926" y="980785"/>
              <a:ext cx="12179198" cy="2490947"/>
            </a:xfrm>
            <a:custGeom>
              <a:avLst/>
              <a:gdLst>
                <a:gd name="connsiteX0" fmla="*/ 0 w 12179198"/>
                <a:gd name="connsiteY0" fmla="*/ 2490735 h 2490947"/>
                <a:gd name="connsiteX1" fmla="*/ 112166 w 12179198"/>
                <a:gd name="connsiteY1" fmla="*/ 2421973 h 2490947"/>
                <a:gd name="connsiteX2" fmla="*/ 1729191 w 12179198"/>
                <a:gd name="connsiteY2" fmla="*/ 2162771 h 2490947"/>
                <a:gd name="connsiteX3" fmla="*/ 2071664 w 12179198"/>
                <a:gd name="connsiteY3" fmla="*/ 2243482 h 2490947"/>
                <a:gd name="connsiteX4" fmla="*/ 3666866 w 12179198"/>
                <a:gd name="connsiteY4" fmla="*/ 1997325 h 2490947"/>
                <a:gd name="connsiteX5" fmla="*/ 3888394 w 12179198"/>
                <a:gd name="connsiteY5" fmla="*/ 1865530 h 2490947"/>
                <a:gd name="connsiteX6" fmla="*/ 5485546 w 12179198"/>
                <a:gd name="connsiteY6" fmla="*/ 1619739 h 2490947"/>
                <a:gd name="connsiteX7" fmla="*/ 5800466 w 12179198"/>
                <a:gd name="connsiteY7" fmla="*/ 1694842 h 2490947"/>
                <a:gd name="connsiteX8" fmla="*/ 7533315 w 12179198"/>
                <a:gd name="connsiteY8" fmla="*/ 1360537 h 2490947"/>
                <a:gd name="connsiteX9" fmla="*/ 7535510 w 12179198"/>
                <a:gd name="connsiteY9" fmla="*/ 1359074 h 2490947"/>
                <a:gd name="connsiteX10" fmla="*/ 9339316 w 12179198"/>
                <a:gd name="connsiteY10" fmla="*/ 1042813 h 2490947"/>
                <a:gd name="connsiteX11" fmla="*/ 9444654 w 12179198"/>
                <a:gd name="connsiteY11" fmla="*/ 1071587 h 2490947"/>
                <a:gd name="connsiteX12" fmla="*/ 11352215 w 12179198"/>
                <a:gd name="connsiteY12" fmla="*/ 677541 h 2490947"/>
                <a:gd name="connsiteX13" fmla="*/ 11742359 w 12179198"/>
                <a:gd name="connsiteY13" fmla="*/ 365548 h 2490947"/>
                <a:gd name="connsiteX14" fmla="*/ 12179198 w 12179198"/>
                <a:gd name="connsiteY14" fmla="*/ -212 h 249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198" h="2490947">
                  <a:moveTo>
                    <a:pt x="0" y="2490735"/>
                  </a:moveTo>
                  <a:lnTo>
                    <a:pt x="112166" y="2421973"/>
                  </a:lnTo>
                  <a:cubicBezTo>
                    <a:pt x="595876" y="2125646"/>
                    <a:pt x="1177095" y="2032475"/>
                    <a:pt x="1729191" y="2162771"/>
                  </a:cubicBezTo>
                  <a:lnTo>
                    <a:pt x="2071664" y="2243482"/>
                  </a:lnTo>
                  <a:cubicBezTo>
                    <a:pt x="2615184" y="2371741"/>
                    <a:pt x="3187293" y="2283459"/>
                    <a:pt x="3666866" y="1997325"/>
                  </a:cubicBezTo>
                  <a:lnTo>
                    <a:pt x="3888394" y="1865530"/>
                  </a:lnTo>
                  <a:cubicBezTo>
                    <a:pt x="4368552" y="1578993"/>
                    <a:pt x="4941454" y="1490821"/>
                    <a:pt x="5485546" y="1619739"/>
                  </a:cubicBezTo>
                  <a:lnTo>
                    <a:pt x="5800466" y="1694842"/>
                  </a:lnTo>
                  <a:cubicBezTo>
                    <a:pt x="6399312" y="1836525"/>
                    <a:pt x="7030151" y="1714824"/>
                    <a:pt x="7533315" y="1360537"/>
                  </a:cubicBezTo>
                  <a:lnTo>
                    <a:pt x="7535510" y="1359074"/>
                  </a:lnTo>
                  <a:cubicBezTo>
                    <a:pt x="8059571" y="990034"/>
                    <a:pt x="8720962" y="874076"/>
                    <a:pt x="9339316" y="1042813"/>
                  </a:cubicBezTo>
                  <a:lnTo>
                    <a:pt x="9444654" y="1071587"/>
                  </a:lnTo>
                  <a:cubicBezTo>
                    <a:pt x="10106948" y="1252394"/>
                    <a:pt x="10815767" y="1105968"/>
                    <a:pt x="11352215" y="677541"/>
                  </a:cubicBezTo>
                  <a:lnTo>
                    <a:pt x="11742359" y="365548"/>
                  </a:lnTo>
                  <a:lnTo>
                    <a:pt x="1217919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7" name="Graphic 23">
              <a:extLst>
                <a:ext uri="{FF2B5EF4-FFF2-40B4-BE49-F238E27FC236}">
                  <a16:creationId xmlns:a16="http://schemas.microsoft.com/office/drawing/2014/main" id="{0B71CDFF-7A16-4F4D-9657-1115FA18BD7D}"/>
                </a:ext>
              </a:extLst>
            </p:cNvPr>
            <p:cNvSpPr/>
            <p:nvPr/>
          </p:nvSpPr>
          <p:spPr>
            <a:xfrm>
              <a:off x="2926" y="993343"/>
              <a:ext cx="12179808" cy="2644932"/>
            </a:xfrm>
            <a:custGeom>
              <a:avLst/>
              <a:gdLst>
                <a:gd name="connsiteX0" fmla="*/ 0 w 12179808"/>
                <a:gd name="connsiteY0" fmla="*/ 2644720 h 2644932"/>
                <a:gd name="connsiteX1" fmla="*/ 119116 w 12179808"/>
                <a:gd name="connsiteY1" fmla="*/ 2569740 h 2644932"/>
                <a:gd name="connsiteX2" fmla="*/ 1736019 w 12179808"/>
                <a:gd name="connsiteY2" fmla="*/ 2291884 h 2644932"/>
                <a:gd name="connsiteX3" fmla="*/ 2077395 w 12179808"/>
                <a:gd name="connsiteY3" fmla="*/ 2368815 h 2644932"/>
                <a:gd name="connsiteX4" fmla="*/ 3672718 w 12179808"/>
                <a:gd name="connsiteY4" fmla="*/ 2104615 h 2644932"/>
                <a:gd name="connsiteX5" fmla="*/ 3888882 w 12179808"/>
                <a:gd name="connsiteY5" fmla="*/ 1972088 h 2644932"/>
                <a:gd name="connsiteX6" fmla="*/ 5485059 w 12179808"/>
                <a:gd name="connsiteY6" fmla="*/ 1708131 h 2644932"/>
                <a:gd name="connsiteX7" fmla="*/ 5802051 w 12179808"/>
                <a:gd name="connsiteY7" fmla="*/ 1779576 h 2644932"/>
                <a:gd name="connsiteX8" fmla="*/ 7532462 w 12179808"/>
                <a:gd name="connsiteY8" fmla="*/ 1426008 h 2644932"/>
                <a:gd name="connsiteX9" fmla="*/ 7533680 w 12179808"/>
                <a:gd name="connsiteY9" fmla="*/ 1425033 h 2644932"/>
                <a:gd name="connsiteX10" fmla="*/ 9334195 w 12179808"/>
                <a:gd name="connsiteY10" fmla="*/ 1089265 h 2644932"/>
                <a:gd name="connsiteX11" fmla="*/ 9440875 w 12179808"/>
                <a:gd name="connsiteY11" fmla="*/ 1117063 h 2644932"/>
                <a:gd name="connsiteX12" fmla="*/ 11344656 w 12179808"/>
                <a:gd name="connsiteY12" fmla="*/ 701072 h 2644932"/>
                <a:gd name="connsiteX13" fmla="*/ 11730776 w 12179808"/>
                <a:gd name="connsiteY13" fmla="*/ 385299 h 2644932"/>
                <a:gd name="connsiteX14" fmla="*/ 12179808 w 12179808"/>
                <a:gd name="connsiteY14" fmla="*/ -212 h 264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2644932">
                  <a:moveTo>
                    <a:pt x="0" y="2644720"/>
                  </a:moveTo>
                  <a:lnTo>
                    <a:pt x="119116" y="2569740"/>
                  </a:lnTo>
                  <a:cubicBezTo>
                    <a:pt x="600168" y="2267037"/>
                    <a:pt x="1181512" y="2167135"/>
                    <a:pt x="1736019" y="2291884"/>
                  </a:cubicBezTo>
                  <a:lnTo>
                    <a:pt x="2077395" y="2368815"/>
                  </a:lnTo>
                  <a:cubicBezTo>
                    <a:pt x="2623291" y="2491686"/>
                    <a:pt x="3195572" y="2396906"/>
                    <a:pt x="3672718" y="2104615"/>
                  </a:cubicBezTo>
                  <a:lnTo>
                    <a:pt x="3888882" y="1972088"/>
                  </a:lnTo>
                  <a:cubicBezTo>
                    <a:pt x="4366260" y="1679565"/>
                    <a:pt x="4938931" y="1584870"/>
                    <a:pt x="5485059" y="1708131"/>
                  </a:cubicBezTo>
                  <a:lnTo>
                    <a:pt x="5802051" y="1779576"/>
                  </a:lnTo>
                  <a:cubicBezTo>
                    <a:pt x="6402872" y="1914968"/>
                    <a:pt x="7032907" y="1786233"/>
                    <a:pt x="7532462" y="1426008"/>
                  </a:cubicBezTo>
                  <a:lnTo>
                    <a:pt x="7533680" y="1425033"/>
                  </a:lnTo>
                  <a:cubicBezTo>
                    <a:pt x="8053767" y="1050263"/>
                    <a:pt x="8713976" y="927136"/>
                    <a:pt x="9334195" y="1089265"/>
                  </a:cubicBezTo>
                  <a:lnTo>
                    <a:pt x="9440875" y="1117063"/>
                  </a:lnTo>
                  <a:cubicBezTo>
                    <a:pt x="10105485" y="1290531"/>
                    <a:pt x="10812975" y="1135936"/>
                    <a:pt x="11344656" y="701072"/>
                  </a:cubicBezTo>
                  <a:lnTo>
                    <a:pt x="11730776" y="385299"/>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8" name="Graphic 23">
              <a:extLst>
                <a:ext uri="{FF2B5EF4-FFF2-40B4-BE49-F238E27FC236}">
                  <a16:creationId xmlns:a16="http://schemas.microsoft.com/office/drawing/2014/main" id="{0B71CDFF-7A16-4F4D-9657-1115FA18BD7D}"/>
                </a:ext>
              </a:extLst>
            </p:cNvPr>
            <p:cNvSpPr/>
            <p:nvPr/>
          </p:nvSpPr>
          <p:spPr>
            <a:xfrm>
              <a:off x="2926" y="1007607"/>
              <a:ext cx="12180417" cy="2796966"/>
            </a:xfrm>
            <a:custGeom>
              <a:avLst/>
              <a:gdLst>
                <a:gd name="connsiteX0" fmla="*/ 0 w 12180417"/>
                <a:gd name="connsiteY0" fmla="*/ 2796755 h 2796966"/>
                <a:gd name="connsiteX1" fmla="*/ 126553 w 12180417"/>
                <a:gd name="connsiteY1" fmla="*/ 2715190 h 2796966"/>
                <a:gd name="connsiteX2" fmla="*/ 1740164 w 12180417"/>
                <a:gd name="connsiteY2" fmla="*/ 2419534 h 2796966"/>
                <a:gd name="connsiteX3" fmla="*/ 2085198 w 12180417"/>
                <a:gd name="connsiteY3" fmla="*/ 2492686 h 2796966"/>
                <a:gd name="connsiteX4" fmla="*/ 3676985 w 12180417"/>
                <a:gd name="connsiteY4" fmla="*/ 2210929 h 2796966"/>
                <a:gd name="connsiteX5" fmla="*/ 3892174 w 12180417"/>
                <a:gd name="connsiteY5" fmla="*/ 2075842 h 2796966"/>
                <a:gd name="connsiteX6" fmla="*/ 5485668 w 12180417"/>
                <a:gd name="connsiteY6" fmla="*/ 1794450 h 2796966"/>
                <a:gd name="connsiteX7" fmla="*/ 5803758 w 12180417"/>
                <a:gd name="connsiteY7" fmla="*/ 1863091 h 2796966"/>
                <a:gd name="connsiteX8" fmla="*/ 7530876 w 12180417"/>
                <a:gd name="connsiteY8" fmla="*/ 1490626 h 2796966"/>
                <a:gd name="connsiteX9" fmla="*/ 9328587 w 12180417"/>
                <a:gd name="connsiteY9" fmla="*/ 1134497 h 2796966"/>
                <a:gd name="connsiteX10" fmla="*/ 9436486 w 12180417"/>
                <a:gd name="connsiteY10" fmla="*/ 1161442 h 2796966"/>
                <a:gd name="connsiteX11" fmla="*/ 11338438 w 12180417"/>
                <a:gd name="connsiteY11" fmla="*/ 723871 h 2796966"/>
                <a:gd name="connsiteX12" fmla="*/ 11719438 w 12180417"/>
                <a:gd name="connsiteY12" fmla="*/ 404806 h 2796966"/>
                <a:gd name="connsiteX13" fmla="*/ 12180417 w 12180417"/>
                <a:gd name="connsiteY13" fmla="*/ -212 h 279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0417" h="2796966">
                  <a:moveTo>
                    <a:pt x="0" y="2796755"/>
                  </a:moveTo>
                  <a:lnTo>
                    <a:pt x="126553" y="2715190"/>
                  </a:lnTo>
                  <a:cubicBezTo>
                    <a:pt x="604190" y="2407208"/>
                    <a:pt x="1184359" y="2300894"/>
                    <a:pt x="1740164" y="2419534"/>
                  </a:cubicBezTo>
                  <a:lnTo>
                    <a:pt x="2085198" y="2492686"/>
                  </a:lnTo>
                  <a:cubicBezTo>
                    <a:pt x="2632240" y="2609498"/>
                    <a:pt x="3203277" y="2508414"/>
                    <a:pt x="3676985" y="2210929"/>
                  </a:cubicBezTo>
                  <a:lnTo>
                    <a:pt x="3892174" y="2075842"/>
                  </a:lnTo>
                  <a:cubicBezTo>
                    <a:pt x="4366431" y="1778113"/>
                    <a:pt x="4938126" y="1677163"/>
                    <a:pt x="5485668" y="1794450"/>
                  </a:cubicBezTo>
                  <a:lnTo>
                    <a:pt x="5803758" y="1863091"/>
                  </a:lnTo>
                  <a:cubicBezTo>
                    <a:pt x="6406237" y="1992095"/>
                    <a:pt x="7035113" y="1856471"/>
                    <a:pt x="7530876" y="1490626"/>
                  </a:cubicBezTo>
                  <a:cubicBezTo>
                    <a:pt x="8046928" y="1109565"/>
                    <a:pt x="8706234" y="978952"/>
                    <a:pt x="9328587" y="1134497"/>
                  </a:cubicBezTo>
                  <a:lnTo>
                    <a:pt x="9436486" y="1161442"/>
                  </a:lnTo>
                  <a:cubicBezTo>
                    <a:pt x="10103961" y="1328314"/>
                    <a:pt x="10810988" y="1165660"/>
                    <a:pt x="11338438" y="723871"/>
                  </a:cubicBezTo>
                  <a:lnTo>
                    <a:pt x="11719438" y="404806"/>
                  </a:lnTo>
                  <a:lnTo>
                    <a:pt x="12180417"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grpSp>
      <p:sp>
        <p:nvSpPr>
          <p:cNvPr id="36" name="Content Placeholder 2">
            <a:extLst>
              <a:ext uri="{FF2B5EF4-FFF2-40B4-BE49-F238E27FC236}">
                <a16:creationId xmlns:a16="http://schemas.microsoft.com/office/drawing/2014/main" id="{08EF5FA5-9CD8-4C19-8A04-4F07040A68A8}"/>
              </a:ext>
            </a:extLst>
          </p:cNvPr>
          <p:cNvSpPr>
            <a:spLocks noGrp="1"/>
          </p:cNvSpPr>
          <p:nvPr>
            <p:ph idx="13"/>
          </p:nvPr>
        </p:nvSpPr>
        <p:spPr>
          <a:xfrm>
            <a:off x="4235017" y="3429001"/>
            <a:ext cx="6216115" cy="1692527"/>
          </a:xfrm>
        </p:spPr>
        <p:txBody>
          <a:bodyPr>
            <a:normAutofit/>
          </a:bodyPr>
          <a:lstStyle>
            <a:lvl1pPr marL="0" indent="0">
              <a:lnSpc>
                <a:spcPct val="100000"/>
              </a:lnSpc>
              <a:spcBef>
                <a:spcPts val="0"/>
              </a:spcBef>
              <a:spcAft>
                <a:spcPts val="1200"/>
              </a:spcAft>
              <a:buFontTx/>
              <a:buNone/>
              <a:defRPr sz="2000" i="1"/>
            </a:lvl1pPr>
          </a:lstStyle>
          <a:p>
            <a:pPr lvl="0"/>
            <a:r>
              <a:rPr lang="en-US"/>
              <a:t>Click to edit Master text styles</a:t>
            </a:r>
          </a:p>
        </p:txBody>
      </p:sp>
      <p:sp>
        <p:nvSpPr>
          <p:cNvPr id="50" name="Picture Placeholder 25">
            <a:extLst>
              <a:ext uri="{FF2B5EF4-FFF2-40B4-BE49-F238E27FC236}">
                <a16:creationId xmlns:a16="http://schemas.microsoft.com/office/drawing/2014/main" id="{293640D1-C937-4B4B-8009-BFD751A7000C}"/>
              </a:ext>
            </a:extLst>
          </p:cNvPr>
          <p:cNvSpPr>
            <a:spLocks noGrp="1"/>
          </p:cNvSpPr>
          <p:nvPr>
            <p:ph type="pic" sz="quarter" idx="12"/>
          </p:nvPr>
        </p:nvSpPr>
        <p:spPr>
          <a:xfrm>
            <a:off x="1546096" y="2366957"/>
            <a:ext cx="2365504" cy="2365504"/>
          </a:xfrm>
          <a:prstGeom prst="ellipse">
            <a:avLst/>
          </a:prstGeom>
          <a:ln w="101600">
            <a:solidFill>
              <a:schemeClr val="bg1"/>
            </a:solidFill>
          </a:ln>
        </p:spPr>
        <p:txBody>
          <a:bodyPr/>
          <a:lstStyle>
            <a:lvl1pPr marL="0" indent="0">
              <a:buNone/>
              <a:defRPr/>
            </a:lvl1pPr>
          </a:lstStyle>
          <a:p>
            <a:endParaRPr lang="en-US"/>
          </a:p>
        </p:txBody>
      </p:sp>
    </p:spTree>
    <p:extLst>
      <p:ext uri="{BB962C8B-B14F-4D97-AF65-F5344CB8AC3E}">
        <p14:creationId xmlns:p14="http://schemas.microsoft.com/office/powerpoint/2010/main" val="3194255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oute Slide 2">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407155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4" name="Content Placeholder 2">
            <a:extLst>
              <a:ext uri="{FF2B5EF4-FFF2-40B4-BE49-F238E27FC236}">
                <a16:creationId xmlns:a16="http://schemas.microsoft.com/office/drawing/2014/main" id="{697744E9-4068-473E-8B93-91FEDF928B8A}"/>
              </a:ext>
            </a:extLst>
          </p:cNvPr>
          <p:cNvSpPr>
            <a:spLocks noGrp="1"/>
          </p:cNvSpPr>
          <p:nvPr>
            <p:ph idx="13"/>
          </p:nvPr>
        </p:nvSpPr>
        <p:spPr>
          <a:xfrm>
            <a:off x="501217" y="1684641"/>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5" name="Content Placeholder 2">
            <a:extLst>
              <a:ext uri="{FF2B5EF4-FFF2-40B4-BE49-F238E27FC236}">
                <a16:creationId xmlns:a16="http://schemas.microsoft.com/office/drawing/2014/main" id="{D2C5F207-408A-4D6A-AEAD-C8DF2D0EDE84}"/>
              </a:ext>
            </a:extLst>
          </p:cNvPr>
          <p:cNvSpPr>
            <a:spLocks noGrp="1"/>
          </p:cNvSpPr>
          <p:nvPr>
            <p:ph idx="16"/>
          </p:nvPr>
        </p:nvSpPr>
        <p:spPr>
          <a:xfrm>
            <a:off x="4611535" y="16846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6" name="Content Placeholder 2">
            <a:extLst>
              <a:ext uri="{FF2B5EF4-FFF2-40B4-BE49-F238E27FC236}">
                <a16:creationId xmlns:a16="http://schemas.microsoft.com/office/drawing/2014/main" id="{BA864A74-113E-4A64-B740-03A0A046ED10}"/>
              </a:ext>
            </a:extLst>
          </p:cNvPr>
          <p:cNvSpPr>
            <a:spLocks noGrp="1"/>
          </p:cNvSpPr>
          <p:nvPr>
            <p:ph idx="17"/>
          </p:nvPr>
        </p:nvSpPr>
        <p:spPr>
          <a:xfrm>
            <a:off x="8459213" y="16846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7" name="Content Placeholder 2">
            <a:extLst>
              <a:ext uri="{FF2B5EF4-FFF2-40B4-BE49-F238E27FC236}">
                <a16:creationId xmlns:a16="http://schemas.microsoft.com/office/drawing/2014/main" id="{857F9CDB-E322-433B-BB26-1512B91D34F2}"/>
              </a:ext>
            </a:extLst>
          </p:cNvPr>
          <p:cNvSpPr>
            <a:spLocks noGrp="1"/>
          </p:cNvSpPr>
          <p:nvPr>
            <p:ph idx="18"/>
          </p:nvPr>
        </p:nvSpPr>
        <p:spPr>
          <a:xfrm>
            <a:off x="501217"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8" name="Content Placeholder 2">
            <a:extLst>
              <a:ext uri="{FF2B5EF4-FFF2-40B4-BE49-F238E27FC236}">
                <a16:creationId xmlns:a16="http://schemas.microsoft.com/office/drawing/2014/main" id="{66A879C3-7FA1-4DB5-8353-2E1233067B3E}"/>
              </a:ext>
            </a:extLst>
          </p:cNvPr>
          <p:cNvSpPr>
            <a:spLocks noGrp="1"/>
          </p:cNvSpPr>
          <p:nvPr>
            <p:ph idx="19"/>
          </p:nvPr>
        </p:nvSpPr>
        <p:spPr>
          <a:xfrm>
            <a:off x="4611535"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9" name="Content Placeholder 2">
            <a:extLst>
              <a:ext uri="{FF2B5EF4-FFF2-40B4-BE49-F238E27FC236}">
                <a16:creationId xmlns:a16="http://schemas.microsoft.com/office/drawing/2014/main" id="{C7F3F082-302C-423C-B17E-231F30B08A57}"/>
              </a:ext>
            </a:extLst>
          </p:cNvPr>
          <p:cNvSpPr>
            <a:spLocks noGrp="1"/>
          </p:cNvSpPr>
          <p:nvPr>
            <p:ph idx="20"/>
          </p:nvPr>
        </p:nvSpPr>
        <p:spPr>
          <a:xfrm>
            <a:off x="8459213"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Tree>
    <p:extLst>
      <p:ext uri="{BB962C8B-B14F-4D97-AF65-F5344CB8AC3E}">
        <p14:creationId xmlns:p14="http://schemas.microsoft.com/office/powerpoint/2010/main" val="1095912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8" name="Graphic 4">
            <a:extLst>
              <a:ext uri="{FF2B5EF4-FFF2-40B4-BE49-F238E27FC236}">
                <a16:creationId xmlns:a16="http://schemas.microsoft.com/office/drawing/2014/main" id="{B1DF7FF3-E5D3-C44F-AA9C-7D01866FD804}"/>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9" name="Graphic 4">
              <a:extLst>
                <a:ext uri="{FF2B5EF4-FFF2-40B4-BE49-F238E27FC236}">
                  <a16:creationId xmlns:a16="http://schemas.microsoft.com/office/drawing/2014/main" id="{E761D765-B3A9-4C4C-8BFF-EBFD1DB98EEA}"/>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A3D6670B-DD7F-8549-A0DC-11A47C8C997B}"/>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AE68B263-6F07-0C4F-9219-87D493F4ED4E}"/>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5B746AE-B4E0-9D4F-8C98-96E196B81D0C}"/>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6218911-129F-F148-B759-986D3C77C687}"/>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4D89F2EB-37F7-8A4A-993C-A38F4A9BFBFF}"/>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DE2CE19D-4A39-0043-AD9E-834C4A511CBE}"/>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C41966E3-5EC8-5841-984A-CF2743803708}"/>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C98A07A4-C4CB-044F-9B20-7519146E968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4203DEF4-86B0-3E46-AB0B-0294B2B485A9}"/>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16F07C3B-7D38-2C4F-832A-831B46685B3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223571E0-89B2-7C46-B47B-14649C2936D5}"/>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B5776585-8C67-BF49-ACDD-B87F1301BA35}"/>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2E0077A6-6CB9-2D41-BD73-77DD4D4F7626}"/>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11AAF689-9FAF-0E43-AF88-94048100AEFD}"/>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02E68E52-FD43-564A-8D6D-B92E771448F1}"/>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934417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6" name="Picture 2">
            <a:extLst>
              <a:ext uri="{FF2B5EF4-FFF2-40B4-BE49-F238E27FC236}">
                <a16:creationId xmlns:a16="http://schemas.microsoft.com/office/drawing/2014/main" id="{99474930-7559-F243-BD6F-736FB3B80FA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436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926042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495300" y="1778000"/>
            <a:ext cx="11201400" cy="4660900"/>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6726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2 Chart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60230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495301" y="1790701"/>
            <a:ext cx="5323928" cy="4158155"/>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2">
            <a:extLst>
              <a:ext uri="{FF2B5EF4-FFF2-40B4-BE49-F238E27FC236}">
                <a16:creationId xmlns:a16="http://schemas.microsoft.com/office/drawing/2014/main" id="{3ED057C8-E566-43B1-8B63-EC342C169C9A}"/>
              </a:ext>
            </a:extLst>
          </p:cNvPr>
          <p:cNvSpPr>
            <a:spLocks noGrp="1"/>
          </p:cNvSpPr>
          <p:nvPr>
            <p:ph idx="16"/>
          </p:nvPr>
        </p:nvSpPr>
        <p:spPr>
          <a:xfrm>
            <a:off x="6184901" y="1790700"/>
            <a:ext cx="5323928" cy="4158155"/>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233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and 4 chart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348444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3326315"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latin typeface="+mn-lt"/>
                <a:ea typeface="+mn-ea"/>
              </a:defRPr>
            </a:lvl1pPr>
            <a:lvl2pPr>
              <a:defRPr lang="en-US" sz="1800" dirty="0">
                <a:solidFill>
                  <a:schemeClr val="lt1"/>
                </a:solidFill>
                <a:latin typeface="+mn-lt"/>
                <a:ea typeface="+mn-ea"/>
              </a:defRPr>
            </a:lvl2pPr>
            <a:lvl3pPr>
              <a:defRPr lang="en-US" sz="1800" dirty="0">
                <a:solidFill>
                  <a:schemeClr val="lt1"/>
                </a:solidFill>
                <a:latin typeface="+mn-lt"/>
                <a:ea typeface="+mn-ea"/>
              </a:defRPr>
            </a:lvl3pPr>
            <a:lvl4pPr>
              <a:defRPr lang="en-US" dirty="0">
                <a:solidFill>
                  <a:schemeClr val="lt1"/>
                </a:solidFill>
                <a:latin typeface="+mn-lt"/>
                <a:ea typeface="+mn-ea"/>
              </a:defRPr>
            </a:lvl4pPr>
            <a:lvl5pPr>
              <a:defRPr lang="en-US" dirty="0">
                <a:solidFill>
                  <a:schemeClr val="lt1"/>
                </a:solidFill>
                <a:latin typeface="+mn-lt"/>
                <a:ea typeface="+mn-ea"/>
              </a:defRPr>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2">
            <a:extLst>
              <a:ext uri="{FF2B5EF4-FFF2-40B4-BE49-F238E27FC236}">
                <a16:creationId xmlns:a16="http://schemas.microsoft.com/office/drawing/2014/main" id="{3F47F6DF-5141-4350-9C79-7B9A914FE3BC}"/>
              </a:ext>
            </a:extLst>
          </p:cNvPr>
          <p:cNvSpPr>
            <a:spLocks noGrp="1"/>
          </p:cNvSpPr>
          <p:nvPr>
            <p:ph idx="16"/>
          </p:nvPr>
        </p:nvSpPr>
        <p:spPr>
          <a:xfrm>
            <a:off x="493614" y="2826537"/>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latin typeface="+mn-lt"/>
                <a:ea typeface="+mn-ea"/>
              </a:defRPr>
            </a:lvl1pPr>
            <a:lvl2pPr>
              <a:defRPr lang="en-US" sz="1800" dirty="0">
                <a:solidFill>
                  <a:schemeClr val="lt1"/>
                </a:solidFill>
                <a:latin typeface="+mn-lt"/>
                <a:ea typeface="+mn-ea"/>
              </a:defRPr>
            </a:lvl2pPr>
            <a:lvl3pPr>
              <a:defRPr lang="en-US" sz="1800" dirty="0">
                <a:solidFill>
                  <a:schemeClr val="lt1"/>
                </a:solidFill>
                <a:latin typeface="+mn-lt"/>
                <a:ea typeface="+mn-ea"/>
              </a:defRPr>
            </a:lvl3pPr>
            <a:lvl4pPr>
              <a:defRPr lang="en-US" dirty="0">
                <a:solidFill>
                  <a:schemeClr val="lt1"/>
                </a:solidFill>
                <a:latin typeface="+mn-lt"/>
                <a:ea typeface="+mn-ea"/>
              </a:defRPr>
            </a:lvl4pPr>
            <a:lvl5pPr>
              <a:defRPr lang="en-US" dirty="0">
                <a:solidFill>
                  <a:schemeClr val="lt1"/>
                </a:solidFill>
                <a:latin typeface="+mn-lt"/>
                <a:ea typeface="+mn-ea"/>
              </a:defRPr>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
        <p:nvSpPr>
          <p:cNvPr id="30" name="Content Placeholder 2">
            <a:extLst>
              <a:ext uri="{FF2B5EF4-FFF2-40B4-BE49-F238E27FC236}">
                <a16:creationId xmlns:a16="http://schemas.microsoft.com/office/drawing/2014/main" id="{8CAD16B0-96B8-4039-8264-761B5446E97F}"/>
              </a:ext>
            </a:extLst>
          </p:cNvPr>
          <p:cNvSpPr>
            <a:spLocks noGrp="1"/>
          </p:cNvSpPr>
          <p:nvPr>
            <p:ph idx="17"/>
          </p:nvPr>
        </p:nvSpPr>
        <p:spPr>
          <a:xfrm>
            <a:off x="6159015"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defRPr>
            </a:lvl1pPr>
            <a:lvl2pPr>
              <a:defRPr lang="en-US" sz="1800" dirty="0"/>
            </a:lvl2pPr>
            <a:lvl3pPr>
              <a:defRPr lang="en-US" sz="1800" dirty="0"/>
            </a:lvl3pPr>
            <a:lvl4pPr>
              <a:defRPr lang="en-US" dirty="0"/>
            </a:lvl4pPr>
            <a:lvl5pPr>
              <a:defRPr lang="en-US" dirty="0"/>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
        <p:nvSpPr>
          <p:cNvPr id="31" name="Content Placeholder 2">
            <a:extLst>
              <a:ext uri="{FF2B5EF4-FFF2-40B4-BE49-F238E27FC236}">
                <a16:creationId xmlns:a16="http://schemas.microsoft.com/office/drawing/2014/main" id="{6B863BAE-6C8C-40C9-86EF-4E6DF394E289}"/>
              </a:ext>
            </a:extLst>
          </p:cNvPr>
          <p:cNvSpPr>
            <a:spLocks noGrp="1"/>
          </p:cNvSpPr>
          <p:nvPr>
            <p:ph idx="18"/>
          </p:nvPr>
        </p:nvSpPr>
        <p:spPr>
          <a:xfrm>
            <a:off x="8991717"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defRPr>
            </a:lvl1pPr>
            <a:lvl2pPr>
              <a:defRPr lang="en-US" sz="1800" dirty="0"/>
            </a:lvl2pPr>
            <a:lvl3pPr>
              <a:defRPr lang="en-US" sz="1800" dirty="0"/>
            </a:lvl3pPr>
            <a:lvl4pPr>
              <a:defRPr lang="en-US" dirty="0"/>
            </a:lvl4pPr>
            <a:lvl5pPr>
              <a:defRPr lang="en-US" dirty="0"/>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Tree>
    <p:extLst>
      <p:ext uri="{BB962C8B-B14F-4D97-AF65-F5344CB8AC3E}">
        <p14:creationId xmlns:p14="http://schemas.microsoft.com/office/powerpoint/2010/main" val="38852352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5414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2338CC1F-249E-4990-87EF-954CABE8809C}"/>
              </a:ext>
            </a:extLst>
          </p:cNvPr>
          <p:cNvGrpSpPr/>
          <p:nvPr userDrawn="1"/>
        </p:nvGrpSpPr>
        <p:grpSpPr>
          <a:xfrm>
            <a:off x="0" y="0"/>
            <a:ext cx="10059484" cy="3543300"/>
            <a:chOff x="0" y="0"/>
            <a:chExt cx="5974771" cy="2104522"/>
          </a:xfrm>
        </p:grpSpPr>
        <p:grpSp>
          <p:nvGrpSpPr>
            <p:cNvPr id="22" name="Graphic 4">
              <a:extLst>
                <a:ext uri="{FF2B5EF4-FFF2-40B4-BE49-F238E27FC236}">
                  <a16:creationId xmlns:a16="http://schemas.microsoft.com/office/drawing/2014/main" id="{8E5BA971-5FD9-41C3-AF4B-342A459325E5}"/>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23" name="Graphic 4">
                <a:extLst>
                  <a:ext uri="{FF2B5EF4-FFF2-40B4-BE49-F238E27FC236}">
                    <a16:creationId xmlns:a16="http://schemas.microsoft.com/office/drawing/2014/main" id="{F874CB06-21B8-4DCD-9103-5CB7AC322D78}"/>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67DA3C59-9EC6-40B8-A66E-F5780CD0A3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C29BAC85-59A8-4B4D-9451-C0211847ABC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31ABA46A-06AC-456F-92A1-B13A8FE81D40}"/>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A8645964-ABB8-4A46-9F4E-CBF13AE96F3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5B809CDD-0722-4B93-922A-9DDE3A5FCA1E}"/>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838F49FC-D4B8-4A24-8B3A-0A525F753226}"/>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E369BBAE-E946-4086-8B02-1126B29ADD83}"/>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764E054F-3FA5-4B4E-B7B2-705BD63AAD5D}"/>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B43C4C1B-95AB-40D7-A379-18DF7346A3FC}"/>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2D2AA216-3D4C-464B-BA8B-1A67F0BD3B93}"/>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4EEE66E6-5ADE-4D63-B2CD-B1CF43C030F6}"/>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D999D31C-A143-4909-B8F2-BE462D5433E1}"/>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51168CD4-F27A-4B92-BAA6-2559C5B409F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8A44519C-FDBD-4B89-B984-2B97A65523D9}"/>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1242E14-4E4A-4D26-88F4-1A22FAF31F55}"/>
                </a:ext>
              </a:extLst>
            </p:cNvPr>
            <p:cNvSpPr/>
            <p:nvPr userDrawn="1"/>
          </p:nvSpPr>
          <p:spPr>
            <a:xfrm rot="10800000">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itle 6">
            <a:extLst>
              <a:ext uri="{FF2B5EF4-FFF2-40B4-BE49-F238E27FC236}">
                <a16:creationId xmlns:a16="http://schemas.microsoft.com/office/drawing/2014/main" id="{ACA50D37-0A16-44E1-A0F1-6DFE9C82F8C5}"/>
              </a:ext>
            </a:extLst>
          </p:cNvPr>
          <p:cNvSpPr>
            <a:spLocks noGrp="1"/>
          </p:cNvSpPr>
          <p:nvPr>
            <p:ph type="title"/>
          </p:nvPr>
        </p:nvSpPr>
        <p:spPr>
          <a:xfrm>
            <a:off x="647701" y="3138714"/>
            <a:ext cx="3095624" cy="1103312"/>
          </a:xfrm>
        </p:spPr>
        <p:txBody>
          <a:bodyPr vert="horz" lIns="0" tIns="45720" rIns="91440" bIns="45720" rtlCol="0" anchor="ctr">
            <a:noAutofit/>
          </a:bodyPr>
          <a:lstStyle>
            <a:lvl1pPr>
              <a:defRPr lang="en-US" dirty="0"/>
            </a:lvl1pPr>
          </a:lstStyle>
          <a:p>
            <a:pPr marL="0" lvl="0" algn="r">
              <a:lnSpc>
                <a:spcPct val="100000"/>
              </a:lnSpc>
            </a:pPr>
            <a:r>
              <a:rPr lang="en-US"/>
              <a:t>Click to edit Master title style</a:t>
            </a:r>
          </a:p>
        </p:txBody>
      </p:sp>
      <p:cxnSp>
        <p:nvCxnSpPr>
          <p:cNvPr id="40" name="Straight Connector 39">
            <a:extLst>
              <a:ext uri="{FF2B5EF4-FFF2-40B4-BE49-F238E27FC236}">
                <a16:creationId xmlns:a16="http://schemas.microsoft.com/office/drawing/2014/main" id="{6E4133C0-5142-44DE-ABED-BAB3E9E902B5}"/>
              </a:ext>
            </a:extLst>
          </p:cNvPr>
          <p:cNvCxnSpPr>
            <a:cxnSpLocks/>
          </p:cNvCxnSpPr>
          <p:nvPr userDrawn="1"/>
        </p:nvCxnSpPr>
        <p:spPr>
          <a:xfrm>
            <a:off x="4354513" y="2149855"/>
            <a:ext cx="0" cy="3079642"/>
          </a:xfrm>
          <a:prstGeom prst="line">
            <a:avLst/>
          </a:prstGeom>
        </p:spPr>
        <p:style>
          <a:lnRef idx="1">
            <a:schemeClr val="accent1"/>
          </a:lnRef>
          <a:fillRef idx="0">
            <a:schemeClr val="accent1"/>
          </a:fillRef>
          <a:effectRef idx="0">
            <a:schemeClr val="accent1"/>
          </a:effectRef>
          <a:fontRef idx="minor">
            <a:schemeClr val="tx1"/>
          </a:fontRef>
        </p:style>
      </p:cxnSp>
      <p:sp>
        <p:nvSpPr>
          <p:cNvPr id="41" name="Content Placeholder 2">
            <a:extLst>
              <a:ext uri="{FF2B5EF4-FFF2-40B4-BE49-F238E27FC236}">
                <a16:creationId xmlns:a16="http://schemas.microsoft.com/office/drawing/2014/main" id="{FAE2D3F2-1AAC-4779-904D-E58C4858F847}"/>
              </a:ext>
            </a:extLst>
          </p:cNvPr>
          <p:cNvSpPr>
            <a:spLocks noGrp="1"/>
          </p:cNvSpPr>
          <p:nvPr>
            <p:ph idx="1"/>
          </p:nvPr>
        </p:nvSpPr>
        <p:spPr>
          <a:xfrm>
            <a:off x="5616572" y="137341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2" name="Text Placeholder 10">
            <a:extLst>
              <a:ext uri="{FF2B5EF4-FFF2-40B4-BE49-F238E27FC236}">
                <a16:creationId xmlns:a16="http://schemas.microsoft.com/office/drawing/2014/main" id="{C8357E26-BDFA-442E-8F83-9960B9069C69}"/>
              </a:ext>
            </a:extLst>
          </p:cNvPr>
          <p:cNvSpPr>
            <a:spLocks noGrp="1"/>
          </p:cNvSpPr>
          <p:nvPr>
            <p:ph type="body" sz="quarter" idx="13" hasCustomPrompt="1"/>
          </p:nvPr>
        </p:nvSpPr>
        <p:spPr>
          <a:xfrm>
            <a:off x="4965700" y="137341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3" name="Content Placeholder 2">
            <a:extLst>
              <a:ext uri="{FF2B5EF4-FFF2-40B4-BE49-F238E27FC236}">
                <a16:creationId xmlns:a16="http://schemas.microsoft.com/office/drawing/2014/main" id="{D75145B3-A3AD-411E-B679-3CA16BE31D05}"/>
              </a:ext>
            </a:extLst>
          </p:cNvPr>
          <p:cNvSpPr>
            <a:spLocks noGrp="1"/>
          </p:cNvSpPr>
          <p:nvPr>
            <p:ph idx="14"/>
          </p:nvPr>
        </p:nvSpPr>
        <p:spPr>
          <a:xfrm>
            <a:off x="5616572" y="218113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4" name="Text Placeholder 10">
            <a:extLst>
              <a:ext uri="{FF2B5EF4-FFF2-40B4-BE49-F238E27FC236}">
                <a16:creationId xmlns:a16="http://schemas.microsoft.com/office/drawing/2014/main" id="{F05EDC3C-BF33-4E6B-ACAA-1A44EB5B0D0E}"/>
              </a:ext>
            </a:extLst>
          </p:cNvPr>
          <p:cNvSpPr>
            <a:spLocks noGrp="1"/>
          </p:cNvSpPr>
          <p:nvPr>
            <p:ph type="body" sz="quarter" idx="15" hasCustomPrompt="1"/>
          </p:nvPr>
        </p:nvSpPr>
        <p:spPr>
          <a:xfrm>
            <a:off x="4965700" y="218113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5" name="Content Placeholder 2">
            <a:extLst>
              <a:ext uri="{FF2B5EF4-FFF2-40B4-BE49-F238E27FC236}">
                <a16:creationId xmlns:a16="http://schemas.microsoft.com/office/drawing/2014/main" id="{EEE30FF8-EF5D-4103-9206-923FAEBF10BF}"/>
              </a:ext>
            </a:extLst>
          </p:cNvPr>
          <p:cNvSpPr>
            <a:spLocks noGrp="1"/>
          </p:cNvSpPr>
          <p:nvPr>
            <p:ph idx="16"/>
          </p:nvPr>
        </p:nvSpPr>
        <p:spPr>
          <a:xfrm>
            <a:off x="5616572" y="298885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6" name="Text Placeholder 10">
            <a:extLst>
              <a:ext uri="{FF2B5EF4-FFF2-40B4-BE49-F238E27FC236}">
                <a16:creationId xmlns:a16="http://schemas.microsoft.com/office/drawing/2014/main" id="{E777CF4D-C707-4EBF-ADBE-86282E3B9CDB}"/>
              </a:ext>
            </a:extLst>
          </p:cNvPr>
          <p:cNvSpPr>
            <a:spLocks noGrp="1"/>
          </p:cNvSpPr>
          <p:nvPr>
            <p:ph type="body" sz="quarter" idx="17" hasCustomPrompt="1"/>
          </p:nvPr>
        </p:nvSpPr>
        <p:spPr>
          <a:xfrm>
            <a:off x="4965700" y="298885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7" name="Content Placeholder 2">
            <a:extLst>
              <a:ext uri="{FF2B5EF4-FFF2-40B4-BE49-F238E27FC236}">
                <a16:creationId xmlns:a16="http://schemas.microsoft.com/office/drawing/2014/main" id="{068D7336-F72C-4866-843B-3ACD9F23AB0E}"/>
              </a:ext>
            </a:extLst>
          </p:cNvPr>
          <p:cNvSpPr>
            <a:spLocks noGrp="1"/>
          </p:cNvSpPr>
          <p:nvPr>
            <p:ph idx="18"/>
          </p:nvPr>
        </p:nvSpPr>
        <p:spPr>
          <a:xfrm>
            <a:off x="5616572" y="379657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8" name="Text Placeholder 10">
            <a:extLst>
              <a:ext uri="{FF2B5EF4-FFF2-40B4-BE49-F238E27FC236}">
                <a16:creationId xmlns:a16="http://schemas.microsoft.com/office/drawing/2014/main" id="{590E8E14-15CA-4448-BBE6-6F2223C936F5}"/>
              </a:ext>
            </a:extLst>
          </p:cNvPr>
          <p:cNvSpPr>
            <a:spLocks noGrp="1"/>
          </p:cNvSpPr>
          <p:nvPr>
            <p:ph type="body" sz="quarter" idx="19" hasCustomPrompt="1"/>
          </p:nvPr>
        </p:nvSpPr>
        <p:spPr>
          <a:xfrm>
            <a:off x="4965700" y="379657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9" name="Content Placeholder 2">
            <a:extLst>
              <a:ext uri="{FF2B5EF4-FFF2-40B4-BE49-F238E27FC236}">
                <a16:creationId xmlns:a16="http://schemas.microsoft.com/office/drawing/2014/main" id="{D72B40C2-5424-4252-81AE-E904B65E17F9}"/>
              </a:ext>
            </a:extLst>
          </p:cNvPr>
          <p:cNvSpPr>
            <a:spLocks noGrp="1"/>
          </p:cNvSpPr>
          <p:nvPr>
            <p:ph idx="20"/>
          </p:nvPr>
        </p:nvSpPr>
        <p:spPr>
          <a:xfrm>
            <a:off x="5616572" y="460429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50" name="Text Placeholder 10">
            <a:extLst>
              <a:ext uri="{FF2B5EF4-FFF2-40B4-BE49-F238E27FC236}">
                <a16:creationId xmlns:a16="http://schemas.microsoft.com/office/drawing/2014/main" id="{12602D7A-CBA6-4AEF-AC26-DBEF4F986888}"/>
              </a:ext>
            </a:extLst>
          </p:cNvPr>
          <p:cNvSpPr>
            <a:spLocks noGrp="1"/>
          </p:cNvSpPr>
          <p:nvPr>
            <p:ph type="body" sz="quarter" idx="21" hasCustomPrompt="1"/>
          </p:nvPr>
        </p:nvSpPr>
        <p:spPr>
          <a:xfrm>
            <a:off x="4965700" y="460429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51" name="Content Placeholder 2">
            <a:extLst>
              <a:ext uri="{FF2B5EF4-FFF2-40B4-BE49-F238E27FC236}">
                <a16:creationId xmlns:a16="http://schemas.microsoft.com/office/drawing/2014/main" id="{E35635C2-3B88-481A-8333-DA5EC7649166}"/>
              </a:ext>
            </a:extLst>
          </p:cNvPr>
          <p:cNvSpPr>
            <a:spLocks noGrp="1"/>
          </p:cNvSpPr>
          <p:nvPr>
            <p:ph idx="22"/>
          </p:nvPr>
        </p:nvSpPr>
        <p:spPr>
          <a:xfrm>
            <a:off x="5616572" y="5412014"/>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52" name="Text Placeholder 10">
            <a:extLst>
              <a:ext uri="{FF2B5EF4-FFF2-40B4-BE49-F238E27FC236}">
                <a16:creationId xmlns:a16="http://schemas.microsoft.com/office/drawing/2014/main" id="{F8D866F2-61FD-444D-AE02-AFBF7CF36D97}"/>
              </a:ext>
            </a:extLst>
          </p:cNvPr>
          <p:cNvSpPr>
            <a:spLocks noGrp="1"/>
          </p:cNvSpPr>
          <p:nvPr>
            <p:ph type="body" sz="quarter" idx="23" hasCustomPrompt="1"/>
          </p:nvPr>
        </p:nvSpPr>
        <p:spPr>
          <a:xfrm>
            <a:off x="4965700" y="541201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Tree>
    <p:extLst>
      <p:ext uri="{BB962C8B-B14F-4D97-AF65-F5344CB8AC3E}">
        <p14:creationId xmlns:p14="http://schemas.microsoft.com/office/powerpoint/2010/main" val="1603010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Images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300" y="708025"/>
            <a:ext cx="3517728"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26" name="Picture Placeholder 25">
            <a:extLst>
              <a:ext uri="{FF2B5EF4-FFF2-40B4-BE49-F238E27FC236}">
                <a16:creationId xmlns:a16="http://schemas.microsoft.com/office/drawing/2014/main" id="{6B10FC70-3ECA-4054-933C-ECEC16E478E6}"/>
              </a:ext>
            </a:extLst>
          </p:cNvPr>
          <p:cNvSpPr>
            <a:spLocks noGrp="1"/>
          </p:cNvSpPr>
          <p:nvPr>
            <p:ph type="pic" sz="quarter" idx="12"/>
          </p:nvPr>
        </p:nvSpPr>
        <p:spPr>
          <a:xfrm>
            <a:off x="4165600" y="708025"/>
            <a:ext cx="3689264" cy="5157239"/>
          </a:xfrm>
        </p:spPr>
        <p:txBody>
          <a:bodyPr/>
          <a:lstStyle>
            <a:lvl1pPr marL="0" indent="0">
              <a:buNone/>
              <a:defRPr/>
            </a:lvl1pPr>
          </a:lstStyle>
          <a:p>
            <a:endParaRPr lang="en-US"/>
          </a:p>
        </p:txBody>
      </p:sp>
      <p:sp>
        <p:nvSpPr>
          <p:cNvPr id="27" name="Picture Placeholder 25">
            <a:extLst>
              <a:ext uri="{FF2B5EF4-FFF2-40B4-BE49-F238E27FC236}">
                <a16:creationId xmlns:a16="http://schemas.microsoft.com/office/drawing/2014/main" id="{EF18F902-2A6D-4228-935E-68747A911F91}"/>
              </a:ext>
            </a:extLst>
          </p:cNvPr>
          <p:cNvSpPr>
            <a:spLocks noGrp="1"/>
          </p:cNvSpPr>
          <p:nvPr>
            <p:ph type="pic" sz="quarter" idx="13"/>
          </p:nvPr>
        </p:nvSpPr>
        <p:spPr>
          <a:xfrm>
            <a:off x="8007436" y="708025"/>
            <a:ext cx="3689264" cy="5157239"/>
          </a:xfrm>
        </p:spPr>
        <p:txBody>
          <a:bodyPr/>
          <a:lstStyle>
            <a:lvl1pPr marL="0" indent="0">
              <a:buNone/>
              <a:defRPr/>
            </a:lvl1pPr>
          </a:lstStyle>
          <a:p>
            <a:endParaRPr lang="en-US"/>
          </a:p>
        </p:txBody>
      </p:sp>
      <p:sp>
        <p:nvSpPr>
          <p:cNvPr id="24" name="Content Placeholder 2">
            <a:extLst>
              <a:ext uri="{FF2B5EF4-FFF2-40B4-BE49-F238E27FC236}">
                <a16:creationId xmlns:a16="http://schemas.microsoft.com/office/drawing/2014/main" id="{E5C2718A-BE8E-4B95-8862-251AED97DED9}"/>
              </a:ext>
            </a:extLst>
          </p:cNvPr>
          <p:cNvSpPr>
            <a:spLocks noGrp="1"/>
          </p:cNvSpPr>
          <p:nvPr>
            <p:ph idx="14"/>
          </p:nvPr>
        </p:nvSpPr>
        <p:spPr>
          <a:xfrm>
            <a:off x="647700" y="1993900"/>
            <a:ext cx="3365328" cy="3871364"/>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2396731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Slide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26519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436B502D-F6FE-49AE-B50A-B25AFA370048}"/>
              </a:ext>
            </a:extLst>
          </p:cNvPr>
          <p:cNvCxnSpPr>
            <a:cxnSpLocks/>
          </p:cNvCxnSpPr>
          <p:nvPr userDrawn="1"/>
        </p:nvCxnSpPr>
        <p:spPr>
          <a:xfrm rot="5400000">
            <a:off x="3565846" y="3262413"/>
            <a:ext cx="0" cy="1312862"/>
          </a:xfrm>
          <a:prstGeom prst="line">
            <a:avLst/>
          </a:prstGeom>
          <a:ln>
            <a:solidFill>
              <a:srgbClr val="013061"/>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444C8D61-E563-4260-86F4-6913BE55C365}"/>
              </a:ext>
            </a:extLst>
          </p:cNvPr>
          <p:cNvGrpSpPr/>
          <p:nvPr userDrawn="1"/>
        </p:nvGrpSpPr>
        <p:grpSpPr>
          <a:xfrm>
            <a:off x="-1" y="-7"/>
            <a:ext cx="6919434" cy="2728687"/>
            <a:chOff x="-1" y="-6"/>
            <a:chExt cx="5154401" cy="2032644"/>
          </a:xfrm>
        </p:grpSpPr>
        <p:sp>
          <p:nvSpPr>
            <p:cNvPr id="14" name="Freeform: Shape 13">
              <a:extLst>
                <a:ext uri="{FF2B5EF4-FFF2-40B4-BE49-F238E27FC236}">
                  <a16:creationId xmlns:a16="http://schemas.microsoft.com/office/drawing/2014/main" id="{0A782616-C408-4284-B54B-E715B3205448}"/>
                </a:ext>
              </a:extLst>
            </p:cNvPr>
            <p:cNvSpPr/>
            <p:nvPr/>
          </p:nvSpPr>
          <p:spPr>
            <a:xfrm rot="5400000" flipH="1">
              <a:off x="267961" y="-267963"/>
              <a:ext cx="1197777" cy="1733700"/>
            </a:xfrm>
            <a:custGeom>
              <a:avLst/>
              <a:gdLst>
                <a:gd name="connsiteX0" fmla="*/ 1197777 w 1197777"/>
                <a:gd name="connsiteY0" fmla="*/ 232142 h 1733700"/>
                <a:gd name="connsiteX1" fmla="*/ 1197777 w 1197777"/>
                <a:gd name="connsiteY1" fmla="*/ 0 h 1733700"/>
                <a:gd name="connsiteX2" fmla="*/ 946840 w 1197777"/>
                <a:gd name="connsiteY2" fmla="*/ 431405 h 1733700"/>
                <a:gd name="connsiteX3" fmla="*/ 674574 w 1197777"/>
                <a:gd name="connsiteY3" fmla="*/ 862966 h 1733700"/>
                <a:gd name="connsiteX4" fmla="*/ 112691 w 1197777"/>
                <a:gd name="connsiteY4" fmla="*/ 1610696 h 1733700"/>
                <a:gd name="connsiteX5" fmla="*/ 0 w 1197777"/>
                <a:gd name="connsiteY5" fmla="*/ 1733700 h 1733700"/>
                <a:gd name="connsiteX6" fmla="*/ 157372 w 1197777"/>
                <a:gd name="connsiteY6" fmla="*/ 1733700 h 1733700"/>
                <a:gd name="connsiteX7" fmla="*/ 333499 w 1197777"/>
                <a:gd name="connsiteY7" fmla="*/ 1529539 h 1733700"/>
                <a:gd name="connsiteX8" fmla="*/ 604220 w 1197777"/>
                <a:gd name="connsiteY8" fmla="*/ 1171699 h 1733700"/>
                <a:gd name="connsiteX9" fmla="*/ 1120467 w 1197777"/>
                <a:gd name="connsiteY9" fmla="*/ 367555 h 17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7777" h="1733700">
                  <a:moveTo>
                    <a:pt x="1197777" y="232142"/>
                  </a:moveTo>
                  <a:lnTo>
                    <a:pt x="1197777" y="0"/>
                  </a:lnTo>
                  <a:lnTo>
                    <a:pt x="946840" y="431405"/>
                  </a:lnTo>
                  <a:cubicBezTo>
                    <a:pt x="859016" y="577310"/>
                    <a:pt x="768697" y="721420"/>
                    <a:pt x="674574" y="862966"/>
                  </a:cubicBezTo>
                  <a:cubicBezTo>
                    <a:pt x="500590" y="1124517"/>
                    <a:pt x="315198" y="1374787"/>
                    <a:pt x="112691" y="1610696"/>
                  </a:cubicBezTo>
                  <a:lnTo>
                    <a:pt x="0" y="1733700"/>
                  </a:lnTo>
                  <a:lnTo>
                    <a:pt x="157372" y="1733700"/>
                  </a:lnTo>
                  <a:lnTo>
                    <a:pt x="333499" y="1529539"/>
                  </a:lnTo>
                  <a:cubicBezTo>
                    <a:pt x="427146" y="1413250"/>
                    <a:pt x="517228" y="1293757"/>
                    <a:pt x="604220" y="1171699"/>
                  </a:cubicBezTo>
                  <a:cubicBezTo>
                    <a:pt x="788662" y="913224"/>
                    <a:pt x="958843" y="643468"/>
                    <a:pt x="1120467" y="367555"/>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5" name="Freeform: Shape 14">
              <a:extLst>
                <a:ext uri="{FF2B5EF4-FFF2-40B4-BE49-F238E27FC236}">
                  <a16:creationId xmlns:a16="http://schemas.microsoft.com/office/drawing/2014/main" id="{502D0FA0-1B88-4DF9-B58E-D5A68CA568D7}"/>
                </a:ext>
              </a:extLst>
            </p:cNvPr>
            <p:cNvSpPr/>
            <p:nvPr/>
          </p:nvSpPr>
          <p:spPr>
            <a:xfrm rot="5400000" flipH="1">
              <a:off x="481811" y="-481812"/>
              <a:ext cx="1376875" cy="2340497"/>
            </a:xfrm>
            <a:custGeom>
              <a:avLst/>
              <a:gdLst>
                <a:gd name="connsiteX0" fmla="*/ 1376875 w 1376875"/>
                <a:gd name="connsiteY0" fmla="*/ 240289 h 2340497"/>
                <a:gd name="connsiteX1" fmla="*/ 1376875 w 1376875"/>
                <a:gd name="connsiteY1" fmla="*/ 0 h 2340497"/>
                <a:gd name="connsiteX2" fmla="*/ 1238362 w 1376875"/>
                <a:gd name="connsiteY2" fmla="*/ 278292 h 2340497"/>
                <a:gd name="connsiteX3" fmla="*/ 1005789 w 1376875"/>
                <a:gd name="connsiteY3" fmla="*/ 740495 h 2340497"/>
                <a:gd name="connsiteX4" fmla="*/ 598876 w 1376875"/>
                <a:gd name="connsiteY4" fmla="*/ 1480021 h 2340497"/>
                <a:gd name="connsiteX5" fmla="*/ 15825 w 1376875"/>
                <a:gd name="connsiteY5" fmla="*/ 2322083 h 2340497"/>
                <a:gd name="connsiteX6" fmla="*/ 0 w 1376875"/>
                <a:gd name="connsiteY6" fmla="*/ 2340497 h 2340497"/>
                <a:gd name="connsiteX7" fmla="*/ 137348 w 1376875"/>
                <a:gd name="connsiteY7" fmla="*/ 2340497 h 2340497"/>
                <a:gd name="connsiteX8" fmla="*/ 232726 w 1376875"/>
                <a:gd name="connsiteY8" fmla="*/ 2223264 h 2340497"/>
                <a:gd name="connsiteX9" fmla="*/ 492394 w 1376875"/>
                <a:gd name="connsiteY9" fmla="*/ 1854398 h 2340497"/>
                <a:gd name="connsiteX10" fmla="*/ 1021952 w 1376875"/>
                <a:gd name="connsiteY10" fmla="*/ 942557 h 2340497"/>
                <a:gd name="connsiteX11" fmla="*/ 1250841 w 1376875"/>
                <a:gd name="connsiteY11" fmla="*/ 493816 h 23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6875" h="2340497">
                  <a:moveTo>
                    <a:pt x="1376875" y="240289"/>
                  </a:moveTo>
                  <a:lnTo>
                    <a:pt x="1376875" y="0"/>
                  </a:lnTo>
                  <a:lnTo>
                    <a:pt x="1238362" y="278292"/>
                  </a:lnTo>
                  <a:cubicBezTo>
                    <a:pt x="1161709" y="432787"/>
                    <a:pt x="1084700" y="587154"/>
                    <a:pt x="1005789" y="740495"/>
                  </a:cubicBezTo>
                  <a:cubicBezTo>
                    <a:pt x="877441" y="990764"/>
                    <a:pt x="743387" y="1238982"/>
                    <a:pt x="598876" y="1480021"/>
                  </a:cubicBezTo>
                  <a:cubicBezTo>
                    <a:pt x="422040" y="1775421"/>
                    <a:pt x="229695" y="2058128"/>
                    <a:pt x="15825" y="2322083"/>
                  </a:cubicBezTo>
                  <a:lnTo>
                    <a:pt x="0" y="2340497"/>
                  </a:lnTo>
                  <a:lnTo>
                    <a:pt x="137348" y="2340497"/>
                  </a:lnTo>
                  <a:lnTo>
                    <a:pt x="232726" y="2223264"/>
                  </a:lnTo>
                  <a:cubicBezTo>
                    <a:pt x="322926" y="2103642"/>
                    <a:pt x="409205" y="1980559"/>
                    <a:pt x="492394" y="1854398"/>
                  </a:cubicBezTo>
                  <a:cubicBezTo>
                    <a:pt x="684442" y="1561050"/>
                    <a:pt x="858426" y="1255393"/>
                    <a:pt x="1021952" y="942557"/>
                  </a:cubicBezTo>
                  <a:cubicBezTo>
                    <a:pt x="1099912" y="793831"/>
                    <a:pt x="1175733" y="644080"/>
                    <a:pt x="1250841" y="49381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7" name="Freeform: Shape 16">
              <a:extLst>
                <a:ext uri="{FF2B5EF4-FFF2-40B4-BE49-F238E27FC236}">
                  <a16:creationId xmlns:a16="http://schemas.microsoft.com/office/drawing/2014/main" id="{38A41EF3-3BD7-4A13-8565-8F764CE391C2}"/>
                </a:ext>
              </a:extLst>
            </p:cNvPr>
            <p:cNvSpPr/>
            <p:nvPr/>
          </p:nvSpPr>
          <p:spPr>
            <a:xfrm rot="5400000" flipH="1">
              <a:off x="172509" y="-172509"/>
              <a:ext cx="893053" cy="1238069"/>
            </a:xfrm>
            <a:custGeom>
              <a:avLst/>
              <a:gdLst>
                <a:gd name="connsiteX0" fmla="*/ 893053 w 893053"/>
                <a:gd name="connsiteY0" fmla="*/ 230831 h 1238069"/>
                <a:gd name="connsiteX1" fmla="*/ 893053 w 893053"/>
                <a:gd name="connsiteY1" fmla="*/ 0 h 1238069"/>
                <a:gd name="connsiteX2" fmla="*/ 881226 w 893053"/>
                <a:gd name="connsiteY2" fmla="*/ 18985 h 1238069"/>
                <a:gd name="connsiteX3" fmla="*/ 614189 w 893053"/>
                <a:gd name="connsiteY3" fmla="*/ 425801 h 1238069"/>
                <a:gd name="connsiteX4" fmla="*/ 9478 w 893053"/>
                <a:gd name="connsiteY4" fmla="*/ 1227332 h 1238069"/>
                <a:gd name="connsiteX5" fmla="*/ 0 w 893053"/>
                <a:gd name="connsiteY5" fmla="*/ 1238069 h 1238069"/>
                <a:gd name="connsiteX6" fmla="*/ 165692 w 893053"/>
                <a:gd name="connsiteY6" fmla="*/ 1238069 h 1238069"/>
                <a:gd name="connsiteX7" fmla="*/ 189212 w 893053"/>
                <a:gd name="connsiteY7" fmla="*/ 1210456 h 1238069"/>
                <a:gd name="connsiteX8" fmla="*/ 814794 w 893053"/>
                <a:gd name="connsiteY8" fmla="*/ 352976 h 123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053" h="1238069">
                  <a:moveTo>
                    <a:pt x="893053" y="230831"/>
                  </a:moveTo>
                  <a:lnTo>
                    <a:pt x="893053" y="0"/>
                  </a:lnTo>
                  <a:lnTo>
                    <a:pt x="881226" y="18985"/>
                  </a:lnTo>
                  <a:cubicBezTo>
                    <a:pt x="794115" y="156043"/>
                    <a:pt x="705459" y="291947"/>
                    <a:pt x="614189" y="425801"/>
                  </a:cubicBezTo>
                  <a:cubicBezTo>
                    <a:pt x="424517" y="703507"/>
                    <a:pt x="224686" y="972560"/>
                    <a:pt x="9478" y="1227332"/>
                  </a:cubicBezTo>
                  <a:lnTo>
                    <a:pt x="0" y="1238069"/>
                  </a:lnTo>
                  <a:lnTo>
                    <a:pt x="165692" y="1238069"/>
                  </a:lnTo>
                  <a:lnTo>
                    <a:pt x="189212" y="1210456"/>
                  </a:lnTo>
                  <a:cubicBezTo>
                    <a:pt x="412633" y="936597"/>
                    <a:pt x="618943" y="649402"/>
                    <a:pt x="814794" y="35297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24CA3DD8-A30C-416F-821B-61AEB1EF2875}"/>
                </a:ext>
              </a:extLst>
            </p:cNvPr>
            <p:cNvSpPr/>
            <p:nvPr/>
          </p:nvSpPr>
          <p:spPr>
            <a:xfrm rot="5400000" flipH="1">
              <a:off x="67962" y="-67962"/>
              <a:ext cx="540253" cy="676176"/>
            </a:xfrm>
            <a:custGeom>
              <a:avLst/>
              <a:gdLst>
                <a:gd name="connsiteX0" fmla="*/ 540253 w 540253"/>
                <a:gd name="connsiteY0" fmla="*/ 242105 h 676176"/>
                <a:gd name="connsiteX1" fmla="*/ 540253 w 540253"/>
                <a:gd name="connsiteY1" fmla="*/ 0 h 676176"/>
                <a:gd name="connsiteX2" fmla="*/ 360944 w 540253"/>
                <a:gd name="connsiteY2" fmla="*/ 239603 h 676176"/>
                <a:gd name="connsiteX3" fmla="*/ 24330 w 540253"/>
                <a:gd name="connsiteY3" fmla="*/ 649221 h 676176"/>
                <a:gd name="connsiteX4" fmla="*/ 0 w 540253"/>
                <a:gd name="connsiteY4" fmla="*/ 676176 h 676176"/>
                <a:gd name="connsiteX5" fmla="*/ 189920 w 540253"/>
                <a:gd name="connsiteY5" fmla="*/ 676176 h 676176"/>
                <a:gd name="connsiteX6" fmla="*/ 450228 w 540253"/>
                <a:gd name="connsiteY6" fmla="*/ 361883 h 67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253" h="676176">
                  <a:moveTo>
                    <a:pt x="540253" y="242105"/>
                  </a:moveTo>
                  <a:lnTo>
                    <a:pt x="540253" y="0"/>
                  </a:lnTo>
                  <a:lnTo>
                    <a:pt x="360944" y="239603"/>
                  </a:lnTo>
                  <a:cubicBezTo>
                    <a:pt x="251948" y="379099"/>
                    <a:pt x="139978" y="515873"/>
                    <a:pt x="24330" y="649221"/>
                  </a:cubicBezTo>
                  <a:lnTo>
                    <a:pt x="0" y="676176"/>
                  </a:lnTo>
                  <a:lnTo>
                    <a:pt x="189920" y="676176"/>
                  </a:lnTo>
                  <a:lnTo>
                    <a:pt x="450228" y="361883"/>
                  </a:lnTo>
                  <a:close/>
                </a:path>
              </a:pathLst>
            </a:custGeom>
            <a:solidFill>
              <a:srgbClr val="013061"/>
            </a:solidFill>
            <a:ln w="9525" cap="flat">
              <a:noFill/>
              <a:prstDash val="solid"/>
              <a:miter/>
            </a:ln>
          </p:spPr>
          <p:txBody>
            <a:bodyPr wrap="square" rtlCol="0" anchor="ctr">
              <a:noAutofit/>
            </a:bodyPr>
            <a:lstStyle/>
            <a:p>
              <a:endParaRPr lang="en-US"/>
            </a:p>
          </p:txBody>
        </p:sp>
        <p:sp>
          <p:nvSpPr>
            <p:cNvPr id="19" name="Freeform: Shape 18">
              <a:extLst>
                <a:ext uri="{FF2B5EF4-FFF2-40B4-BE49-F238E27FC236}">
                  <a16:creationId xmlns:a16="http://schemas.microsoft.com/office/drawing/2014/main" id="{04E4DE4E-610E-4D12-94AC-880076CB019E}"/>
                </a:ext>
              </a:extLst>
            </p:cNvPr>
            <p:cNvSpPr/>
            <p:nvPr/>
          </p:nvSpPr>
          <p:spPr>
            <a:xfrm rot="5400000" flipH="1">
              <a:off x="674178" y="-674179"/>
              <a:ext cx="1557575" cy="2905931"/>
            </a:xfrm>
            <a:custGeom>
              <a:avLst/>
              <a:gdLst>
                <a:gd name="connsiteX0" fmla="*/ 1557575 w 1557575"/>
                <a:gd name="connsiteY0" fmla="*/ 207918 h 2905931"/>
                <a:gd name="connsiteX1" fmla="*/ 1557575 w 1557575"/>
                <a:gd name="connsiteY1" fmla="*/ 0 h 2905931"/>
                <a:gd name="connsiteX2" fmla="*/ 1488822 w 1557575"/>
                <a:gd name="connsiteY2" fmla="*/ 144843 h 2905931"/>
                <a:gd name="connsiteX3" fmla="*/ 1058141 w 1557575"/>
                <a:gd name="connsiteY3" fmla="*/ 1103868 h 2905931"/>
                <a:gd name="connsiteX4" fmla="*/ 636015 w 1557575"/>
                <a:gd name="connsiteY4" fmla="*/ 1951091 h 2905931"/>
                <a:gd name="connsiteX5" fmla="*/ 34647 w 1557575"/>
                <a:gd name="connsiteY5" fmla="*/ 2864984 h 2905931"/>
                <a:gd name="connsiteX6" fmla="*/ 0 w 1557575"/>
                <a:gd name="connsiteY6" fmla="*/ 2905931 h 2905931"/>
                <a:gd name="connsiteX7" fmla="*/ 115964 w 1557575"/>
                <a:gd name="connsiteY7" fmla="*/ 2905931 h 2905931"/>
                <a:gd name="connsiteX8" fmla="*/ 216207 w 1557575"/>
                <a:gd name="connsiteY8" fmla="*/ 2776822 h 2905931"/>
                <a:gd name="connsiteX9" fmla="*/ 618901 w 1557575"/>
                <a:gd name="connsiteY9" fmla="*/ 2161357 h 2905931"/>
                <a:gd name="connsiteX10" fmla="*/ 1076204 w 1557575"/>
                <a:gd name="connsiteY10" fmla="*/ 1272081 h 2905931"/>
                <a:gd name="connsiteX11" fmla="*/ 1466004 w 1557575"/>
                <a:gd name="connsiteY11" fmla="*/ 407421 h 29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7575" h="2905931">
                  <a:moveTo>
                    <a:pt x="1557575" y="207918"/>
                  </a:moveTo>
                  <a:lnTo>
                    <a:pt x="1557575" y="0"/>
                  </a:lnTo>
                  <a:lnTo>
                    <a:pt x="1488822" y="144843"/>
                  </a:lnTo>
                  <a:cubicBezTo>
                    <a:pt x="1343360" y="463835"/>
                    <a:pt x="1204553" y="785903"/>
                    <a:pt x="1058141" y="1103868"/>
                  </a:cubicBezTo>
                  <a:cubicBezTo>
                    <a:pt x="925988" y="1391062"/>
                    <a:pt x="788133" y="1675179"/>
                    <a:pt x="636015" y="1951091"/>
                  </a:cubicBezTo>
                  <a:cubicBezTo>
                    <a:pt x="457753" y="2274185"/>
                    <a:pt x="259704" y="2580546"/>
                    <a:pt x="34647" y="2864984"/>
                  </a:cubicBezTo>
                  <a:lnTo>
                    <a:pt x="0" y="2905931"/>
                  </a:lnTo>
                  <a:lnTo>
                    <a:pt x="115964" y="2905931"/>
                  </a:lnTo>
                  <a:lnTo>
                    <a:pt x="216207" y="2776822"/>
                  </a:lnTo>
                  <a:cubicBezTo>
                    <a:pt x="361670" y="2580610"/>
                    <a:pt x="494832" y="2374446"/>
                    <a:pt x="618901" y="2161357"/>
                  </a:cubicBezTo>
                  <a:cubicBezTo>
                    <a:pt x="785280" y="1873138"/>
                    <a:pt x="934545" y="1574661"/>
                    <a:pt x="1076204" y="1272081"/>
                  </a:cubicBezTo>
                  <a:cubicBezTo>
                    <a:pt x="1210258" y="985912"/>
                    <a:pt x="1336705" y="695642"/>
                    <a:pt x="1466004" y="407421"/>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0" name="Freeform: Shape 19">
              <a:extLst>
                <a:ext uri="{FF2B5EF4-FFF2-40B4-BE49-F238E27FC236}">
                  <a16:creationId xmlns:a16="http://schemas.microsoft.com/office/drawing/2014/main" id="{DA09C941-5209-4E42-9944-FABD9A30811E}"/>
                </a:ext>
              </a:extLst>
            </p:cNvPr>
            <p:cNvSpPr/>
            <p:nvPr/>
          </p:nvSpPr>
          <p:spPr>
            <a:xfrm rot="5400000" flipH="1">
              <a:off x="873955" y="-873959"/>
              <a:ext cx="1706093" cy="3454004"/>
            </a:xfrm>
            <a:custGeom>
              <a:avLst/>
              <a:gdLst>
                <a:gd name="connsiteX0" fmla="*/ 1706093 w 1706093"/>
                <a:gd name="connsiteY0" fmla="*/ 193520 h 3454004"/>
                <a:gd name="connsiteX1" fmla="*/ 1706093 w 1706093"/>
                <a:gd name="connsiteY1" fmla="*/ 0 h 3454004"/>
                <a:gd name="connsiteX2" fmla="*/ 1648746 w 1706093"/>
                <a:gd name="connsiteY2" fmla="*/ 122632 h 3454004"/>
                <a:gd name="connsiteX3" fmla="*/ 1452895 w 1706093"/>
                <a:gd name="connsiteY3" fmla="*/ 587271 h 3454004"/>
                <a:gd name="connsiteX4" fmla="*/ 1089716 w 1706093"/>
                <a:gd name="connsiteY4" fmla="*/ 1491932 h 3454004"/>
                <a:gd name="connsiteX5" fmla="*/ 706571 w 1706093"/>
                <a:gd name="connsiteY5" fmla="*/ 2349413 h 3454004"/>
                <a:gd name="connsiteX6" fmla="*/ 298707 w 1706093"/>
                <a:gd name="connsiteY6" fmla="*/ 3061244 h 3454004"/>
                <a:gd name="connsiteX7" fmla="*/ 263530 w 1706093"/>
                <a:gd name="connsiteY7" fmla="*/ 3111504 h 3454004"/>
                <a:gd name="connsiteX8" fmla="*/ 244515 w 1706093"/>
                <a:gd name="connsiteY8" fmla="*/ 3126889 h 3454004"/>
                <a:gd name="connsiteX9" fmla="*/ 157998 w 1706093"/>
                <a:gd name="connsiteY9" fmla="*/ 3250998 h 3454004"/>
                <a:gd name="connsiteX10" fmla="*/ 0 w 1706093"/>
                <a:gd name="connsiteY10" fmla="*/ 3454004 h 3454004"/>
                <a:gd name="connsiteX11" fmla="*/ 112368 w 1706093"/>
                <a:gd name="connsiteY11" fmla="*/ 3454004 h 3454004"/>
                <a:gd name="connsiteX12" fmla="*/ 220747 w 1706093"/>
                <a:gd name="connsiteY12" fmla="*/ 3313565 h 3454004"/>
                <a:gd name="connsiteX13" fmla="*/ 763615 w 1706093"/>
                <a:gd name="connsiteY13" fmla="*/ 2411980 h 3454004"/>
                <a:gd name="connsiteX14" fmla="*/ 1089716 w 1706093"/>
                <a:gd name="connsiteY14" fmla="*/ 1697071 h 3454004"/>
                <a:gd name="connsiteX15" fmla="*/ 1447191 w 1706093"/>
                <a:gd name="connsiteY15" fmla="*/ 809847 h 3454004"/>
                <a:gd name="connsiteX16" fmla="*/ 1639595 w 1706093"/>
                <a:gd name="connsiteY16" fmla="*/ 342258 h 345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6093" h="3454004">
                  <a:moveTo>
                    <a:pt x="1706093" y="193520"/>
                  </a:moveTo>
                  <a:lnTo>
                    <a:pt x="1706093" y="0"/>
                  </a:lnTo>
                  <a:lnTo>
                    <a:pt x="1648746" y="122632"/>
                  </a:lnTo>
                  <a:cubicBezTo>
                    <a:pt x="1581007" y="276229"/>
                    <a:pt x="1516119" y="431366"/>
                    <a:pt x="1452895" y="587271"/>
                  </a:cubicBezTo>
                  <a:cubicBezTo>
                    <a:pt x="1330251" y="887799"/>
                    <a:pt x="1213311" y="1191405"/>
                    <a:pt x="1089716" y="1491932"/>
                  </a:cubicBezTo>
                  <a:cubicBezTo>
                    <a:pt x="970875" y="1782204"/>
                    <a:pt x="846328" y="2070424"/>
                    <a:pt x="706571" y="2349413"/>
                  </a:cubicBezTo>
                  <a:cubicBezTo>
                    <a:pt x="583926" y="2595579"/>
                    <a:pt x="449874" y="2833540"/>
                    <a:pt x="298707" y="3061244"/>
                  </a:cubicBezTo>
                  <a:cubicBezTo>
                    <a:pt x="287298" y="3078682"/>
                    <a:pt x="276840" y="3096118"/>
                    <a:pt x="263530" y="3111504"/>
                  </a:cubicBezTo>
                  <a:cubicBezTo>
                    <a:pt x="254973" y="3113555"/>
                    <a:pt x="251170" y="3121761"/>
                    <a:pt x="244515" y="3126889"/>
                  </a:cubicBezTo>
                  <a:cubicBezTo>
                    <a:pt x="215993" y="3168943"/>
                    <a:pt x="187471" y="3209970"/>
                    <a:pt x="157998" y="3250998"/>
                  </a:cubicBezTo>
                  <a:lnTo>
                    <a:pt x="0" y="3454004"/>
                  </a:lnTo>
                  <a:lnTo>
                    <a:pt x="112368" y="3454004"/>
                  </a:lnTo>
                  <a:lnTo>
                    <a:pt x="220747" y="3313565"/>
                  </a:lnTo>
                  <a:cubicBezTo>
                    <a:pt x="428006" y="3031500"/>
                    <a:pt x="604842" y="2727894"/>
                    <a:pt x="763615" y="2411980"/>
                  </a:cubicBezTo>
                  <a:cubicBezTo>
                    <a:pt x="881506" y="2178122"/>
                    <a:pt x="987988" y="1939135"/>
                    <a:pt x="1089716" y="1697071"/>
                  </a:cubicBezTo>
                  <a:cubicBezTo>
                    <a:pt x="1212361" y="1403723"/>
                    <a:pt x="1328350" y="1106272"/>
                    <a:pt x="1447191" y="809847"/>
                  </a:cubicBezTo>
                  <a:cubicBezTo>
                    <a:pt x="1509939" y="653428"/>
                    <a:pt x="1573638" y="497266"/>
                    <a:pt x="1639595" y="342258"/>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1" name="Freeform: Shape 20">
              <a:extLst>
                <a:ext uri="{FF2B5EF4-FFF2-40B4-BE49-F238E27FC236}">
                  <a16:creationId xmlns:a16="http://schemas.microsoft.com/office/drawing/2014/main" id="{5214FA42-971A-4C69-9892-E382EAEC9AB2}"/>
                </a:ext>
              </a:extLst>
            </p:cNvPr>
            <p:cNvSpPr/>
            <p:nvPr/>
          </p:nvSpPr>
          <p:spPr>
            <a:xfrm rot="5400000" flipH="1">
              <a:off x="1109361" y="-1109366"/>
              <a:ext cx="1783878" cy="4002601"/>
            </a:xfrm>
            <a:custGeom>
              <a:avLst/>
              <a:gdLst>
                <a:gd name="connsiteX0" fmla="*/ 1783878 w 1783878"/>
                <a:gd name="connsiteY0" fmla="*/ 184088 h 4002601"/>
                <a:gd name="connsiteX1" fmla="*/ 1783878 w 1783878"/>
                <a:gd name="connsiteY1" fmla="*/ 0 h 4002601"/>
                <a:gd name="connsiteX2" fmla="*/ 1689453 w 1783878"/>
                <a:gd name="connsiteY2" fmla="*/ 194280 h 4002601"/>
                <a:gd name="connsiteX3" fmla="*/ 1332928 w 1783878"/>
                <a:gd name="connsiteY3" fmla="*/ 1088685 h 4002601"/>
                <a:gd name="connsiteX4" fmla="*/ 984960 w 1783878"/>
                <a:gd name="connsiteY4" fmla="*/ 2064120 h 4002601"/>
                <a:gd name="connsiteX5" fmla="*/ 641746 w 1783878"/>
                <a:gd name="connsiteY5" fmla="*/ 2911343 h 4002601"/>
                <a:gd name="connsiteX6" fmla="*/ 290925 w 1783878"/>
                <a:gd name="connsiteY6" fmla="*/ 3580096 h 4002601"/>
                <a:gd name="connsiteX7" fmla="*/ 66196 w 1783878"/>
                <a:gd name="connsiteY7" fmla="*/ 3918575 h 4002601"/>
                <a:gd name="connsiteX8" fmla="*/ 0 w 1783878"/>
                <a:gd name="connsiteY8" fmla="*/ 4002601 h 4002601"/>
                <a:gd name="connsiteX9" fmla="*/ 86507 w 1783878"/>
                <a:gd name="connsiteY9" fmla="*/ 4002601 h 4002601"/>
                <a:gd name="connsiteX10" fmla="*/ 182542 w 1783878"/>
                <a:gd name="connsiteY10" fmla="*/ 3882932 h 4002601"/>
                <a:gd name="connsiteX11" fmla="*/ 341315 w 1783878"/>
                <a:gd name="connsiteY11" fmla="*/ 3660100 h 4002601"/>
                <a:gd name="connsiteX12" fmla="*/ 352723 w 1783878"/>
                <a:gd name="connsiteY12" fmla="*/ 3638560 h 4002601"/>
                <a:gd name="connsiteX13" fmla="*/ 656958 w 1783878"/>
                <a:gd name="connsiteY13" fmla="*/ 3070325 h 4002601"/>
                <a:gd name="connsiteX14" fmla="*/ 1022989 w 1783878"/>
                <a:gd name="connsiteY14" fmla="*/ 2191306 h 4002601"/>
                <a:gd name="connsiteX15" fmla="*/ 1285391 w 1783878"/>
                <a:gd name="connsiteY15" fmla="*/ 1457936 h 4002601"/>
                <a:gd name="connsiteX16" fmla="*/ 1647621 w 1783878"/>
                <a:gd name="connsiteY16" fmla="*/ 492757 h 400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3878" h="4002601">
                  <a:moveTo>
                    <a:pt x="1783878" y="184088"/>
                  </a:moveTo>
                  <a:lnTo>
                    <a:pt x="1783878" y="0"/>
                  </a:lnTo>
                  <a:lnTo>
                    <a:pt x="1689453" y="194280"/>
                  </a:lnTo>
                  <a:cubicBezTo>
                    <a:pt x="1557301" y="486603"/>
                    <a:pt x="1442262" y="786106"/>
                    <a:pt x="1332928" y="1088685"/>
                  </a:cubicBezTo>
                  <a:cubicBezTo>
                    <a:pt x="1215988" y="1412804"/>
                    <a:pt x="1103802" y="1740001"/>
                    <a:pt x="984960" y="2064120"/>
                  </a:cubicBezTo>
                  <a:cubicBezTo>
                    <a:pt x="879429" y="2350289"/>
                    <a:pt x="768193" y="2634406"/>
                    <a:pt x="641746" y="2911343"/>
                  </a:cubicBezTo>
                  <a:cubicBezTo>
                    <a:pt x="536214" y="3141099"/>
                    <a:pt x="421176" y="3364700"/>
                    <a:pt x="290925" y="3580096"/>
                  </a:cubicBezTo>
                  <a:cubicBezTo>
                    <a:pt x="220571" y="3697025"/>
                    <a:pt x="145463" y="3809595"/>
                    <a:pt x="66196" y="3918575"/>
                  </a:cubicBezTo>
                  <a:lnTo>
                    <a:pt x="0" y="4002601"/>
                  </a:lnTo>
                  <a:lnTo>
                    <a:pt x="86507" y="4002601"/>
                  </a:lnTo>
                  <a:lnTo>
                    <a:pt x="182542" y="3882932"/>
                  </a:lnTo>
                  <a:cubicBezTo>
                    <a:pt x="237685" y="3810620"/>
                    <a:pt x="290926" y="3736514"/>
                    <a:pt x="341315" y="3660100"/>
                  </a:cubicBezTo>
                  <a:cubicBezTo>
                    <a:pt x="343216" y="3651894"/>
                    <a:pt x="347969" y="3644715"/>
                    <a:pt x="352723" y="3638560"/>
                  </a:cubicBezTo>
                  <a:cubicBezTo>
                    <a:pt x="463959" y="3454961"/>
                    <a:pt x="564736" y="3265208"/>
                    <a:pt x="656958" y="3070325"/>
                  </a:cubicBezTo>
                  <a:cubicBezTo>
                    <a:pt x="793863" y="2784157"/>
                    <a:pt x="911754" y="2489783"/>
                    <a:pt x="1022989" y="2191306"/>
                  </a:cubicBezTo>
                  <a:cubicBezTo>
                    <a:pt x="1113309" y="1948216"/>
                    <a:pt x="1198875" y="1703076"/>
                    <a:pt x="1285391" y="1457936"/>
                  </a:cubicBezTo>
                  <a:cubicBezTo>
                    <a:pt x="1399479" y="1132790"/>
                    <a:pt x="1516420" y="809696"/>
                    <a:pt x="1647621" y="492757"/>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22" name="Freeform: Shape 21">
              <a:extLst>
                <a:ext uri="{FF2B5EF4-FFF2-40B4-BE49-F238E27FC236}">
                  <a16:creationId xmlns:a16="http://schemas.microsoft.com/office/drawing/2014/main" id="{43B5A820-3FA6-4733-9237-D489554A2D28}"/>
                </a:ext>
              </a:extLst>
            </p:cNvPr>
            <p:cNvSpPr/>
            <p:nvPr/>
          </p:nvSpPr>
          <p:spPr>
            <a:xfrm rot="5400000" flipH="1">
              <a:off x="1352407" y="-1352413"/>
              <a:ext cx="1914409" cy="4619224"/>
            </a:xfrm>
            <a:custGeom>
              <a:avLst/>
              <a:gdLst>
                <a:gd name="connsiteX0" fmla="*/ 1914409 w 1914409"/>
                <a:gd name="connsiteY0" fmla="*/ 110727 h 4619224"/>
                <a:gd name="connsiteX1" fmla="*/ 1914409 w 1914409"/>
                <a:gd name="connsiteY1" fmla="*/ 0 h 4619224"/>
                <a:gd name="connsiteX2" fmla="*/ 1812852 w 1914409"/>
                <a:gd name="connsiteY2" fmla="*/ 179589 h 4619224"/>
                <a:gd name="connsiteX3" fmla="*/ 1660260 w 1914409"/>
                <a:gd name="connsiteY3" fmla="*/ 497041 h 4619224"/>
                <a:gd name="connsiteX4" fmla="*/ 1360779 w 1914409"/>
                <a:gd name="connsiteY4" fmla="*/ 1267338 h 4619224"/>
                <a:gd name="connsiteX5" fmla="*/ 1077460 w 1914409"/>
                <a:gd name="connsiteY5" fmla="*/ 2150460 h 4619224"/>
                <a:gd name="connsiteX6" fmla="*/ 793192 w 1914409"/>
                <a:gd name="connsiteY6" fmla="*/ 3021274 h 4619224"/>
                <a:gd name="connsiteX7" fmla="*/ 384377 w 1914409"/>
                <a:gd name="connsiteY7" fmla="*/ 3990554 h 4619224"/>
                <a:gd name="connsiteX8" fmla="*/ 53522 w 1914409"/>
                <a:gd name="connsiteY8" fmla="*/ 4545455 h 4619224"/>
                <a:gd name="connsiteX9" fmla="*/ 0 w 1914409"/>
                <a:gd name="connsiteY9" fmla="*/ 4619224 h 4619224"/>
                <a:gd name="connsiteX10" fmla="*/ 70860 w 1914409"/>
                <a:gd name="connsiteY10" fmla="*/ 4619224 h 4619224"/>
                <a:gd name="connsiteX11" fmla="*/ 185317 w 1914409"/>
                <a:gd name="connsiteY11" fmla="*/ 4450563 h 4619224"/>
                <a:gd name="connsiteX12" fmla="*/ 513677 w 1914409"/>
                <a:gd name="connsiteY12" fmla="*/ 3854138 h 4619224"/>
                <a:gd name="connsiteX13" fmla="*/ 869251 w 1914409"/>
                <a:gd name="connsiteY13" fmla="*/ 2967938 h 4619224"/>
                <a:gd name="connsiteX14" fmla="*/ 1157322 w 1914409"/>
                <a:gd name="connsiteY14" fmla="*/ 2073533 h 4619224"/>
                <a:gd name="connsiteX15" fmla="*/ 1422577 w 1914409"/>
                <a:gd name="connsiteY15" fmla="*/ 1254003 h 4619224"/>
                <a:gd name="connsiteX16" fmla="*/ 1761988 w 1914409"/>
                <a:gd name="connsiteY16" fmla="*/ 407806 h 4619224"/>
                <a:gd name="connsiteX17" fmla="*/ 1889149 w 1914409"/>
                <a:gd name="connsiteY17" fmla="*/ 154844 h 46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4409" h="4619224">
                  <a:moveTo>
                    <a:pt x="1914409" y="110727"/>
                  </a:moveTo>
                  <a:lnTo>
                    <a:pt x="1914409" y="0"/>
                  </a:lnTo>
                  <a:lnTo>
                    <a:pt x="1812852" y="179589"/>
                  </a:lnTo>
                  <a:cubicBezTo>
                    <a:pt x="1758898" y="283440"/>
                    <a:pt x="1708271" y="389343"/>
                    <a:pt x="1660260" y="497041"/>
                  </a:cubicBezTo>
                  <a:cubicBezTo>
                    <a:pt x="1548073" y="748337"/>
                    <a:pt x="1451099" y="1005785"/>
                    <a:pt x="1360779" y="1267338"/>
                  </a:cubicBezTo>
                  <a:cubicBezTo>
                    <a:pt x="1260952" y="1558635"/>
                    <a:pt x="1169682" y="1855060"/>
                    <a:pt x="1077460" y="2150460"/>
                  </a:cubicBezTo>
                  <a:cubicBezTo>
                    <a:pt x="986190" y="2442783"/>
                    <a:pt x="894920" y="2734080"/>
                    <a:pt x="793192" y="3021274"/>
                  </a:cubicBezTo>
                  <a:cubicBezTo>
                    <a:pt x="675301" y="3353599"/>
                    <a:pt x="544100" y="3678743"/>
                    <a:pt x="384377" y="3990554"/>
                  </a:cubicBezTo>
                  <a:cubicBezTo>
                    <a:pt x="285501" y="4183385"/>
                    <a:pt x="176166" y="4369036"/>
                    <a:pt x="53522" y="4545455"/>
                  </a:cubicBezTo>
                  <a:lnTo>
                    <a:pt x="0" y="4619224"/>
                  </a:lnTo>
                  <a:lnTo>
                    <a:pt x="70860" y="4619224"/>
                  </a:lnTo>
                  <a:lnTo>
                    <a:pt x="185317" y="4450563"/>
                  </a:lnTo>
                  <a:cubicBezTo>
                    <a:pt x="307605" y="4260120"/>
                    <a:pt x="415989" y="4060302"/>
                    <a:pt x="513677" y="3854138"/>
                  </a:cubicBezTo>
                  <a:cubicBezTo>
                    <a:pt x="649631" y="3566943"/>
                    <a:pt x="764670" y="3269492"/>
                    <a:pt x="869251" y="2967938"/>
                  </a:cubicBezTo>
                  <a:cubicBezTo>
                    <a:pt x="971930" y="2672538"/>
                    <a:pt x="1064150" y="2373036"/>
                    <a:pt x="1157322" y="2073533"/>
                  </a:cubicBezTo>
                  <a:cubicBezTo>
                    <a:pt x="1242888" y="1798647"/>
                    <a:pt x="1328454" y="1524786"/>
                    <a:pt x="1422577" y="1254003"/>
                  </a:cubicBezTo>
                  <a:cubicBezTo>
                    <a:pt x="1522403" y="965784"/>
                    <a:pt x="1631738" y="682692"/>
                    <a:pt x="1761988" y="407806"/>
                  </a:cubicBezTo>
                  <a:cubicBezTo>
                    <a:pt x="1802395" y="322161"/>
                    <a:pt x="1844702" y="237797"/>
                    <a:pt x="1889149" y="154844"/>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23" name="Freeform: Shape 22">
              <a:extLst>
                <a:ext uri="{FF2B5EF4-FFF2-40B4-BE49-F238E27FC236}">
                  <a16:creationId xmlns:a16="http://schemas.microsoft.com/office/drawing/2014/main" id="{652B2BB4-BDEA-4FDE-8402-7C25F54F56FA}"/>
                </a:ext>
              </a:extLst>
            </p:cNvPr>
            <p:cNvSpPr/>
            <p:nvPr/>
          </p:nvSpPr>
          <p:spPr>
            <a:xfrm rot="5400000" flipH="1">
              <a:off x="1560878" y="-1560884"/>
              <a:ext cx="2032643" cy="5154401"/>
            </a:xfrm>
            <a:custGeom>
              <a:avLst/>
              <a:gdLst>
                <a:gd name="connsiteX0" fmla="*/ 2032643 w 2032643"/>
                <a:gd name="connsiteY0" fmla="*/ 96883 h 5154401"/>
                <a:gd name="connsiteX1" fmla="*/ 2032643 w 2032643"/>
                <a:gd name="connsiteY1" fmla="*/ 0 h 5154401"/>
                <a:gd name="connsiteX2" fmla="*/ 1904880 w 2032643"/>
                <a:gd name="connsiteY2" fmla="*/ 191774 h 5154401"/>
                <a:gd name="connsiteX3" fmla="*/ 1558874 w 2032643"/>
                <a:gd name="connsiteY3" fmla="*/ 868107 h 5154401"/>
                <a:gd name="connsiteX4" fmla="*/ 1315486 w 2032643"/>
                <a:gd name="connsiteY4" fmla="*/ 1526603 h 5154401"/>
                <a:gd name="connsiteX5" fmla="*/ 1069246 w 2032643"/>
                <a:gd name="connsiteY5" fmla="*/ 2367672 h 5154401"/>
                <a:gd name="connsiteX6" fmla="*/ 834416 w 2032643"/>
                <a:gd name="connsiteY6" fmla="*/ 3216946 h 5154401"/>
                <a:gd name="connsiteX7" fmla="*/ 459827 w 2032643"/>
                <a:gd name="connsiteY7" fmla="*/ 4302130 h 5154401"/>
                <a:gd name="connsiteX8" fmla="*/ 178411 w 2032643"/>
                <a:gd name="connsiteY8" fmla="*/ 4872416 h 5154401"/>
                <a:gd name="connsiteX9" fmla="*/ 13458 w 2032643"/>
                <a:gd name="connsiteY9" fmla="*/ 5135892 h 5154401"/>
                <a:gd name="connsiteX10" fmla="*/ 0 w 2032643"/>
                <a:gd name="connsiteY10" fmla="*/ 5154401 h 5154401"/>
                <a:gd name="connsiteX11" fmla="*/ 65222 w 2032643"/>
                <a:gd name="connsiteY11" fmla="*/ 5154401 h 5154401"/>
                <a:gd name="connsiteX12" fmla="*/ 69715 w 2032643"/>
                <a:gd name="connsiteY12" fmla="*/ 5148136 h 5154401"/>
                <a:gd name="connsiteX13" fmla="*/ 486448 w 2032643"/>
                <a:gd name="connsiteY13" fmla="*/ 4369826 h 5154401"/>
                <a:gd name="connsiteX14" fmla="*/ 761209 w 2032643"/>
                <a:gd name="connsiteY14" fmla="*/ 3628250 h 5154401"/>
                <a:gd name="connsiteX15" fmla="*/ 1056887 w 2032643"/>
                <a:gd name="connsiteY15" fmla="*/ 2601530 h 5154401"/>
                <a:gd name="connsiteX16" fmla="*/ 1192841 w 2032643"/>
                <a:gd name="connsiteY16" fmla="*/ 2107145 h 5154401"/>
                <a:gd name="connsiteX17" fmla="*/ 1461899 w 2032643"/>
                <a:gd name="connsiteY17" fmla="*/ 1254794 h 5154401"/>
                <a:gd name="connsiteX18" fmla="*/ 1824128 w 2032643"/>
                <a:gd name="connsiteY18" fmla="*/ 435264 h 5154401"/>
                <a:gd name="connsiteX19" fmla="*/ 1991932 w 2032643"/>
                <a:gd name="connsiteY19" fmla="*/ 153455 h 5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32643" h="5154401">
                  <a:moveTo>
                    <a:pt x="2032643" y="96883"/>
                  </a:moveTo>
                  <a:lnTo>
                    <a:pt x="2032643" y="0"/>
                  </a:lnTo>
                  <a:lnTo>
                    <a:pt x="1904880" y="191774"/>
                  </a:lnTo>
                  <a:cubicBezTo>
                    <a:pt x="1771897" y="405968"/>
                    <a:pt x="1658701" y="632711"/>
                    <a:pt x="1558874" y="868107"/>
                  </a:cubicBezTo>
                  <a:cubicBezTo>
                    <a:pt x="1467603" y="1083503"/>
                    <a:pt x="1387742" y="1303001"/>
                    <a:pt x="1315486" y="1526603"/>
                  </a:cubicBezTo>
                  <a:cubicBezTo>
                    <a:pt x="1225166" y="1804566"/>
                    <a:pt x="1146256" y="2085606"/>
                    <a:pt x="1069246" y="2367672"/>
                  </a:cubicBezTo>
                  <a:cubicBezTo>
                    <a:pt x="991286" y="2650763"/>
                    <a:pt x="916179" y="2934881"/>
                    <a:pt x="834416" y="3216946"/>
                  </a:cubicBezTo>
                  <a:cubicBezTo>
                    <a:pt x="727934" y="3585171"/>
                    <a:pt x="609092" y="3950318"/>
                    <a:pt x="459827" y="4302130"/>
                  </a:cubicBezTo>
                  <a:cubicBezTo>
                    <a:pt x="376163" y="4498038"/>
                    <a:pt x="283941" y="4688818"/>
                    <a:pt x="178411" y="4872416"/>
                  </a:cubicBezTo>
                  <a:cubicBezTo>
                    <a:pt x="126595" y="4962677"/>
                    <a:pt x="71453" y="5050374"/>
                    <a:pt x="13458" y="5135892"/>
                  </a:cubicBezTo>
                  <a:lnTo>
                    <a:pt x="0" y="5154401"/>
                  </a:lnTo>
                  <a:lnTo>
                    <a:pt x="65222" y="5154401"/>
                  </a:lnTo>
                  <a:lnTo>
                    <a:pt x="69715" y="5148136"/>
                  </a:lnTo>
                  <a:cubicBezTo>
                    <a:pt x="231889" y="4904277"/>
                    <a:pt x="368794" y="4643687"/>
                    <a:pt x="486448" y="4369826"/>
                  </a:cubicBezTo>
                  <a:cubicBezTo>
                    <a:pt x="591028" y="4127762"/>
                    <a:pt x="680397" y="3879545"/>
                    <a:pt x="761209" y="3628250"/>
                  </a:cubicBezTo>
                  <a:cubicBezTo>
                    <a:pt x="870544" y="3289771"/>
                    <a:pt x="963715" y="2945138"/>
                    <a:pt x="1056887" y="2601530"/>
                  </a:cubicBezTo>
                  <a:cubicBezTo>
                    <a:pt x="1101571" y="2436394"/>
                    <a:pt x="1146256" y="2271256"/>
                    <a:pt x="1192841" y="2107145"/>
                  </a:cubicBezTo>
                  <a:cubicBezTo>
                    <a:pt x="1273654" y="1819951"/>
                    <a:pt x="1360170" y="1534808"/>
                    <a:pt x="1461899" y="1254794"/>
                  </a:cubicBezTo>
                  <a:cubicBezTo>
                    <a:pt x="1564578" y="972728"/>
                    <a:pt x="1681518" y="696817"/>
                    <a:pt x="1824128" y="435264"/>
                  </a:cubicBezTo>
                  <a:cubicBezTo>
                    <a:pt x="1876894" y="338849"/>
                    <a:pt x="1932511" y="244742"/>
                    <a:pt x="1991932" y="153455"/>
                  </a:cubicBezTo>
                  <a:close/>
                </a:path>
              </a:pathLst>
            </a:custGeom>
            <a:solidFill>
              <a:srgbClr val="B2B2B2"/>
            </a:solidFill>
            <a:ln w="9525" cap="flat">
              <a:noFill/>
              <a:prstDash val="solid"/>
              <a:miter/>
            </a:ln>
          </p:spPr>
          <p:txBody>
            <a:bodyPr wrap="square" rtlCol="0" anchor="ctr">
              <a:noAutofit/>
            </a:bodyPr>
            <a:lstStyle/>
            <a:p>
              <a:endParaRPr lang="en-US"/>
            </a:p>
          </p:txBody>
        </p:sp>
      </p:grpSp>
      <p:sp>
        <p:nvSpPr>
          <p:cNvPr id="24" name="Rectangle 23">
            <a:extLst>
              <a:ext uri="{FF2B5EF4-FFF2-40B4-BE49-F238E27FC236}">
                <a16:creationId xmlns:a16="http://schemas.microsoft.com/office/drawing/2014/main" id="{6DF19C9F-C12F-B843-AED5-CBFC1554257E}"/>
              </a:ext>
            </a:extLst>
          </p:cNvPr>
          <p:cNvSpPr/>
          <p:nvPr userDrawn="1"/>
        </p:nvSpPr>
        <p:spPr>
          <a:xfrm>
            <a:off x="1" y="-2544"/>
            <a:ext cx="7102258" cy="2728687"/>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2">
            <a:extLst>
              <a:ext uri="{FF2B5EF4-FFF2-40B4-BE49-F238E27FC236}">
                <a16:creationId xmlns:a16="http://schemas.microsoft.com/office/drawing/2014/main" id="{1EA916E0-BA1D-7A4C-BE4E-6B02B475152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3623" y="5563662"/>
            <a:ext cx="3447393" cy="10710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C935614-E5CE-4E0E-9C0D-E9570EB3B2CD}"/>
              </a:ext>
            </a:extLst>
          </p:cNvPr>
          <p:cNvSpPr>
            <a:spLocks noGrp="1"/>
          </p:cNvSpPr>
          <p:nvPr>
            <p:ph type="ctrTitle"/>
          </p:nvPr>
        </p:nvSpPr>
        <p:spPr>
          <a:xfrm>
            <a:off x="2909415" y="2686050"/>
            <a:ext cx="8787285" cy="1080988"/>
          </a:xfrm>
        </p:spPr>
        <p:txBody>
          <a:bodyPr vert="horz" anchor="ctr">
            <a:normAutofit/>
          </a:bodyPr>
          <a:lstStyle>
            <a:lvl1pPr marL="0" algn="l" defTabSz="914400" rtl="0" eaLnBrk="1" latinLnBrk="0" hangingPunct="1">
              <a:lnSpc>
                <a:spcPct val="90000"/>
              </a:lnSpc>
              <a:spcBef>
                <a:spcPct val="0"/>
              </a:spcBef>
              <a:buNone/>
              <a:defRPr lang="en-US" sz="4000" b="1" kern="1200" dirty="0">
                <a:solidFill>
                  <a:srgbClr val="01306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25" name="Slide Number Placeholder 7">
            <a:extLst>
              <a:ext uri="{FF2B5EF4-FFF2-40B4-BE49-F238E27FC236}">
                <a16:creationId xmlns:a16="http://schemas.microsoft.com/office/drawing/2014/main" id="{321CAACD-3EC3-4CFC-9AA1-E514F0165FF9}"/>
              </a:ext>
            </a:extLst>
          </p:cNvPr>
          <p:cNvSpPr>
            <a:spLocks noGrp="1"/>
          </p:cNvSpPr>
          <p:nvPr>
            <p:ph type="sldNum" sz="quarter" idx="11"/>
          </p:nvPr>
        </p:nvSpPr>
        <p:spPr>
          <a:xfrm>
            <a:off x="11009562" y="6449372"/>
            <a:ext cx="778221" cy="228600"/>
          </a:xfrm>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24928001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ext + 1 right charts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299" y="708025"/>
            <a:ext cx="11028217"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24" name="Content Placeholder 2">
            <a:extLst>
              <a:ext uri="{FF2B5EF4-FFF2-40B4-BE49-F238E27FC236}">
                <a16:creationId xmlns:a16="http://schemas.microsoft.com/office/drawing/2014/main" id="{E512410F-3CBF-4FD2-87EF-3E138B3C15F7}"/>
              </a:ext>
            </a:extLst>
          </p:cNvPr>
          <p:cNvSpPr>
            <a:spLocks noGrp="1"/>
          </p:cNvSpPr>
          <p:nvPr>
            <p:ph idx="1"/>
          </p:nvPr>
        </p:nvSpPr>
        <p:spPr>
          <a:xfrm>
            <a:off x="3932903" y="1426491"/>
            <a:ext cx="7590614" cy="4244748"/>
          </a:xfrm>
        </p:spPr>
        <p:txBody>
          <a:bodyPr>
            <a:normAutofit/>
          </a:bodyPr>
          <a:lstStyle>
            <a:lvl1pPr marL="457200" indent="-457200">
              <a:lnSpc>
                <a:spcPct val="100000"/>
              </a:lnSpc>
              <a:spcBef>
                <a:spcPts val="0"/>
              </a:spcBef>
              <a:spcAft>
                <a:spcPts val="1200"/>
              </a:spcAft>
              <a:buFont typeface="Arial" panose="020B0604020202020204" pitchFamily="34" charset="0"/>
              <a:buChar char="•"/>
              <a:defRPr sz="2400"/>
            </a:lvl1pPr>
          </a:lstStyle>
          <a:p>
            <a:pPr lvl="0"/>
            <a:r>
              <a:rPr lang="en-US"/>
              <a:t>Click to edit Master text styles</a:t>
            </a:r>
          </a:p>
        </p:txBody>
      </p:sp>
      <p:sp>
        <p:nvSpPr>
          <p:cNvPr id="29" name="Content Placeholder 2">
            <a:extLst>
              <a:ext uri="{FF2B5EF4-FFF2-40B4-BE49-F238E27FC236}">
                <a16:creationId xmlns:a16="http://schemas.microsoft.com/office/drawing/2014/main" id="{BCCFB011-646C-42BD-A785-B01157FD62AF}"/>
              </a:ext>
            </a:extLst>
          </p:cNvPr>
          <p:cNvSpPr>
            <a:spLocks noGrp="1"/>
          </p:cNvSpPr>
          <p:nvPr>
            <p:ph idx="13"/>
          </p:nvPr>
        </p:nvSpPr>
        <p:spPr>
          <a:xfrm>
            <a:off x="495300" y="1430338"/>
            <a:ext cx="3149600" cy="4244748"/>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15380638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300" y="708025"/>
            <a:ext cx="3517728"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30" name="Picture Placeholder 25">
            <a:extLst>
              <a:ext uri="{FF2B5EF4-FFF2-40B4-BE49-F238E27FC236}">
                <a16:creationId xmlns:a16="http://schemas.microsoft.com/office/drawing/2014/main" id="{BFF69A5C-5036-44D5-88A8-0A0F2696CADC}"/>
              </a:ext>
            </a:extLst>
          </p:cNvPr>
          <p:cNvSpPr>
            <a:spLocks noGrp="1"/>
          </p:cNvSpPr>
          <p:nvPr>
            <p:ph type="pic" sz="quarter" idx="12"/>
          </p:nvPr>
        </p:nvSpPr>
        <p:spPr>
          <a:xfrm>
            <a:off x="4165600" y="708025"/>
            <a:ext cx="7531100" cy="5527675"/>
          </a:xfrm>
        </p:spPr>
        <p:txBody>
          <a:bodyPr/>
          <a:lstStyle>
            <a:lvl1pPr marL="0" indent="0">
              <a:buNone/>
              <a:defRPr/>
            </a:lvl1pPr>
          </a:lstStyle>
          <a:p>
            <a:endParaRPr lang="en-US"/>
          </a:p>
        </p:txBody>
      </p:sp>
      <p:sp>
        <p:nvSpPr>
          <p:cNvPr id="23" name="Content Placeholder 2">
            <a:extLst>
              <a:ext uri="{FF2B5EF4-FFF2-40B4-BE49-F238E27FC236}">
                <a16:creationId xmlns:a16="http://schemas.microsoft.com/office/drawing/2014/main" id="{9973F96E-F474-4159-A0C9-F05A52727D91}"/>
              </a:ext>
            </a:extLst>
          </p:cNvPr>
          <p:cNvSpPr>
            <a:spLocks noGrp="1"/>
          </p:cNvSpPr>
          <p:nvPr>
            <p:ph idx="13"/>
          </p:nvPr>
        </p:nvSpPr>
        <p:spPr>
          <a:xfrm>
            <a:off x="647700" y="1993900"/>
            <a:ext cx="3365328" cy="3871364"/>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29723664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6D6718B-4CB8-48B1-8464-02F55E0DAC25}"/>
              </a:ext>
            </a:extLst>
          </p:cNvPr>
          <p:cNvGrpSpPr/>
          <p:nvPr userDrawn="1"/>
        </p:nvGrpSpPr>
        <p:grpSpPr>
          <a:xfrm rot="16200000" flipH="1">
            <a:off x="-1156785" y="1156787"/>
            <a:ext cx="3759200" cy="1445627"/>
            <a:chOff x="-1" y="-2544"/>
            <a:chExt cx="7102260" cy="2731224"/>
          </a:xfrm>
        </p:grpSpPr>
        <p:grpSp>
          <p:nvGrpSpPr>
            <p:cNvPr id="23" name="Group 22">
              <a:extLst>
                <a:ext uri="{FF2B5EF4-FFF2-40B4-BE49-F238E27FC236}">
                  <a16:creationId xmlns:a16="http://schemas.microsoft.com/office/drawing/2014/main" id="{C461EB29-FE8E-465A-B43C-4A7B5770ACA9}"/>
                </a:ext>
              </a:extLst>
            </p:cNvPr>
            <p:cNvGrpSpPr/>
            <p:nvPr userDrawn="1"/>
          </p:nvGrpSpPr>
          <p:grpSpPr>
            <a:xfrm>
              <a:off x="-1" y="-7"/>
              <a:ext cx="6919434" cy="2728687"/>
              <a:chOff x="-1" y="-6"/>
              <a:chExt cx="5154401" cy="2032644"/>
            </a:xfrm>
          </p:grpSpPr>
          <p:sp>
            <p:nvSpPr>
              <p:cNvPr id="25" name="Freeform: Shape 24">
                <a:extLst>
                  <a:ext uri="{FF2B5EF4-FFF2-40B4-BE49-F238E27FC236}">
                    <a16:creationId xmlns:a16="http://schemas.microsoft.com/office/drawing/2014/main" id="{53CD595D-D848-436E-95C0-C65786D452BF}"/>
                  </a:ext>
                </a:extLst>
              </p:cNvPr>
              <p:cNvSpPr/>
              <p:nvPr/>
            </p:nvSpPr>
            <p:spPr>
              <a:xfrm rot="5400000" flipH="1">
                <a:off x="267961" y="-267963"/>
                <a:ext cx="1197777" cy="1733700"/>
              </a:xfrm>
              <a:custGeom>
                <a:avLst/>
                <a:gdLst>
                  <a:gd name="connsiteX0" fmla="*/ 1197777 w 1197777"/>
                  <a:gd name="connsiteY0" fmla="*/ 232142 h 1733700"/>
                  <a:gd name="connsiteX1" fmla="*/ 1197777 w 1197777"/>
                  <a:gd name="connsiteY1" fmla="*/ 0 h 1733700"/>
                  <a:gd name="connsiteX2" fmla="*/ 946840 w 1197777"/>
                  <a:gd name="connsiteY2" fmla="*/ 431405 h 1733700"/>
                  <a:gd name="connsiteX3" fmla="*/ 674574 w 1197777"/>
                  <a:gd name="connsiteY3" fmla="*/ 862966 h 1733700"/>
                  <a:gd name="connsiteX4" fmla="*/ 112691 w 1197777"/>
                  <a:gd name="connsiteY4" fmla="*/ 1610696 h 1733700"/>
                  <a:gd name="connsiteX5" fmla="*/ 0 w 1197777"/>
                  <a:gd name="connsiteY5" fmla="*/ 1733700 h 1733700"/>
                  <a:gd name="connsiteX6" fmla="*/ 157372 w 1197777"/>
                  <a:gd name="connsiteY6" fmla="*/ 1733700 h 1733700"/>
                  <a:gd name="connsiteX7" fmla="*/ 333499 w 1197777"/>
                  <a:gd name="connsiteY7" fmla="*/ 1529539 h 1733700"/>
                  <a:gd name="connsiteX8" fmla="*/ 604220 w 1197777"/>
                  <a:gd name="connsiteY8" fmla="*/ 1171699 h 1733700"/>
                  <a:gd name="connsiteX9" fmla="*/ 1120467 w 1197777"/>
                  <a:gd name="connsiteY9" fmla="*/ 367555 h 17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7777" h="1733700">
                    <a:moveTo>
                      <a:pt x="1197777" y="232142"/>
                    </a:moveTo>
                    <a:lnTo>
                      <a:pt x="1197777" y="0"/>
                    </a:lnTo>
                    <a:lnTo>
                      <a:pt x="946840" y="431405"/>
                    </a:lnTo>
                    <a:cubicBezTo>
                      <a:pt x="859016" y="577310"/>
                      <a:pt x="768697" y="721420"/>
                      <a:pt x="674574" y="862966"/>
                    </a:cubicBezTo>
                    <a:cubicBezTo>
                      <a:pt x="500590" y="1124517"/>
                      <a:pt x="315198" y="1374787"/>
                      <a:pt x="112691" y="1610696"/>
                    </a:cubicBezTo>
                    <a:lnTo>
                      <a:pt x="0" y="1733700"/>
                    </a:lnTo>
                    <a:lnTo>
                      <a:pt x="157372" y="1733700"/>
                    </a:lnTo>
                    <a:lnTo>
                      <a:pt x="333499" y="1529539"/>
                    </a:lnTo>
                    <a:cubicBezTo>
                      <a:pt x="427146" y="1413250"/>
                      <a:pt x="517228" y="1293757"/>
                      <a:pt x="604220" y="1171699"/>
                    </a:cubicBezTo>
                    <a:cubicBezTo>
                      <a:pt x="788662" y="913224"/>
                      <a:pt x="958843" y="643468"/>
                      <a:pt x="1120467" y="367555"/>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7" name="Freeform: Shape 26">
                <a:extLst>
                  <a:ext uri="{FF2B5EF4-FFF2-40B4-BE49-F238E27FC236}">
                    <a16:creationId xmlns:a16="http://schemas.microsoft.com/office/drawing/2014/main" id="{FC1228A5-37FC-4844-B6EA-720C4279925D}"/>
                  </a:ext>
                </a:extLst>
              </p:cNvPr>
              <p:cNvSpPr/>
              <p:nvPr/>
            </p:nvSpPr>
            <p:spPr>
              <a:xfrm rot="5400000" flipH="1">
                <a:off x="481811" y="-481812"/>
                <a:ext cx="1376875" cy="2340497"/>
              </a:xfrm>
              <a:custGeom>
                <a:avLst/>
                <a:gdLst>
                  <a:gd name="connsiteX0" fmla="*/ 1376875 w 1376875"/>
                  <a:gd name="connsiteY0" fmla="*/ 240289 h 2340497"/>
                  <a:gd name="connsiteX1" fmla="*/ 1376875 w 1376875"/>
                  <a:gd name="connsiteY1" fmla="*/ 0 h 2340497"/>
                  <a:gd name="connsiteX2" fmla="*/ 1238362 w 1376875"/>
                  <a:gd name="connsiteY2" fmla="*/ 278292 h 2340497"/>
                  <a:gd name="connsiteX3" fmla="*/ 1005789 w 1376875"/>
                  <a:gd name="connsiteY3" fmla="*/ 740495 h 2340497"/>
                  <a:gd name="connsiteX4" fmla="*/ 598876 w 1376875"/>
                  <a:gd name="connsiteY4" fmla="*/ 1480021 h 2340497"/>
                  <a:gd name="connsiteX5" fmla="*/ 15825 w 1376875"/>
                  <a:gd name="connsiteY5" fmla="*/ 2322083 h 2340497"/>
                  <a:gd name="connsiteX6" fmla="*/ 0 w 1376875"/>
                  <a:gd name="connsiteY6" fmla="*/ 2340497 h 2340497"/>
                  <a:gd name="connsiteX7" fmla="*/ 137348 w 1376875"/>
                  <a:gd name="connsiteY7" fmla="*/ 2340497 h 2340497"/>
                  <a:gd name="connsiteX8" fmla="*/ 232726 w 1376875"/>
                  <a:gd name="connsiteY8" fmla="*/ 2223264 h 2340497"/>
                  <a:gd name="connsiteX9" fmla="*/ 492394 w 1376875"/>
                  <a:gd name="connsiteY9" fmla="*/ 1854398 h 2340497"/>
                  <a:gd name="connsiteX10" fmla="*/ 1021952 w 1376875"/>
                  <a:gd name="connsiteY10" fmla="*/ 942557 h 2340497"/>
                  <a:gd name="connsiteX11" fmla="*/ 1250841 w 1376875"/>
                  <a:gd name="connsiteY11" fmla="*/ 493816 h 23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6875" h="2340497">
                    <a:moveTo>
                      <a:pt x="1376875" y="240289"/>
                    </a:moveTo>
                    <a:lnTo>
                      <a:pt x="1376875" y="0"/>
                    </a:lnTo>
                    <a:lnTo>
                      <a:pt x="1238362" y="278292"/>
                    </a:lnTo>
                    <a:cubicBezTo>
                      <a:pt x="1161709" y="432787"/>
                      <a:pt x="1084700" y="587154"/>
                      <a:pt x="1005789" y="740495"/>
                    </a:cubicBezTo>
                    <a:cubicBezTo>
                      <a:pt x="877441" y="990764"/>
                      <a:pt x="743387" y="1238982"/>
                      <a:pt x="598876" y="1480021"/>
                    </a:cubicBezTo>
                    <a:cubicBezTo>
                      <a:pt x="422040" y="1775421"/>
                      <a:pt x="229695" y="2058128"/>
                      <a:pt x="15825" y="2322083"/>
                    </a:cubicBezTo>
                    <a:lnTo>
                      <a:pt x="0" y="2340497"/>
                    </a:lnTo>
                    <a:lnTo>
                      <a:pt x="137348" y="2340497"/>
                    </a:lnTo>
                    <a:lnTo>
                      <a:pt x="232726" y="2223264"/>
                    </a:lnTo>
                    <a:cubicBezTo>
                      <a:pt x="322926" y="2103642"/>
                      <a:pt x="409205" y="1980559"/>
                      <a:pt x="492394" y="1854398"/>
                    </a:cubicBezTo>
                    <a:cubicBezTo>
                      <a:pt x="684442" y="1561050"/>
                      <a:pt x="858426" y="1255393"/>
                      <a:pt x="1021952" y="942557"/>
                    </a:cubicBezTo>
                    <a:cubicBezTo>
                      <a:pt x="1099912" y="793831"/>
                      <a:pt x="1175733" y="644080"/>
                      <a:pt x="1250841" y="49381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8" name="Freeform: Shape 27">
                <a:extLst>
                  <a:ext uri="{FF2B5EF4-FFF2-40B4-BE49-F238E27FC236}">
                    <a16:creationId xmlns:a16="http://schemas.microsoft.com/office/drawing/2014/main" id="{73775329-A5E4-4BA8-996C-89E3C784B1B3}"/>
                  </a:ext>
                </a:extLst>
              </p:cNvPr>
              <p:cNvSpPr/>
              <p:nvPr/>
            </p:nvSpPr>
            <p:spPr>
              <a:xfrm rot="5400000" flipH="1">
                <a:off x="172509" y="-172509"/>
                <a:ext cx="893053" cy="1238069"/>
              </a:xfrm>
              <a:custGeom>
                <a:avLst/>
                <a:gdLst>
                  <a:gd name="connsiteX0" fmla="*/ 893053 w 893053"/>
                  <a:gd name="connsiteY0" fmla="*/ 230831 h 1238069"/>
                  <a:gd name="connsiteX1" fmla="*/ 893053 w 893053"/>
                  <a:gd name="connsiteY1" fmla="*/ 0 h 1238069"/>
                  <a:gd name="connsiteX2" fmla="*/ 881226 w 893053"/>
                  <a:gd name="connsiteY2" fmla="*/ 18985 h 1238069"/>
                  <a:gd name="connsiteX3" fmla="*/ 614189 w 893053"/>
                  <a:gd name="connsiteY3" fmla="*/ 425801 h 1238069"/>
                  <a:gd name="connsiteX4" fmla="*/ 9478 w 893053"/>
                  <a:gd name="connsiteY4" fmla="*/ 1227332 h 1238069"/>
                  <a:gd name="connsiteX5" fmla="*/ 0 w 893053"/>
                  <a:gd name="connsiteY5" fmla="*/ 1238069 h 1238069"/>
                  <a:gd name="connsiteX6" fmla="*/ 165692 w 893053"/>
                  <a:gd name="connsiteY6" fmla="*/ 1238069 h 1238069"/>
                  <a:gd name="connsiteX7" fmla="*/ 189212 w 893053"/>
                  <a:gd name="connsiteY7" fmla="*/ 1210456 h 1238069"/>
                  <a:gd name="connsiteX8" fmla="*/ 814794 w 893053"/>
                  <a:gd name="connsiteY8" fmla="*/ 352976 h 123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053" h="1238069">
                    <a:moveTo>
                      <a:pt x="893053" y="230831"/>
                    </a:moveTo>
                    <a:lnTo>
                      <a:pt x="893053" y="0"/>
                    </a:lnTo>
                    <a:lnTo>
                      <a:pt x="881226" y="18985"/>
                    </a:lnTo>
                    <a:cubicBezTo>
                      <a:pt x="794115" y="156043"/>
                      <a:pt x="705459" y="291947"/>
                      <a:pt x="614189" y="425801"/>
                    </a:cubicBezTo>
                    <a:cubicBezTo>
                      <a:pt x="424517" y="703507"/>
                      <a:pt x="224686" y="972560"/>
                      <a:pt x="9478" y="1227332"/>
                    </a:cubicBezTo>
                    <a:lnTo>
                      <a:pt x="0" y="1238069"/>
                    </a:lnTo>
                    <a:lnTo>
                      <a:pt x="165692" y="1238069"/>
                    </a:lnTo>
                    <a:lnTo>
                      <a:pt x="189212" y="1210456"/>
                    </a:lnTo>
                    <a:cubicBezTo>
                      <a:pt x="412633" y="936597"/>
                      <a:pt x="618943" y="649402"/>
                      <a:pt x="814794" y="35297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9" name="Freeform: Shape 28">
                <a:extLst>
                  <a:ext uri="{FF2B5EF4-FFF2-40B4-BE49-F238E27FC236}">
                    <a16:creationId xmlns:a16="http://schemas.microsoft.com/office/drawing/2014/main" id="{E66C5EA2-5BB2-44DC-ABB1-AAA20EFBFE4E}"/>
                  </a:ext>
                </a:extLst>
              </p:cNvPr>
              <p:cNvSpPr/>
              <p:nvPr/>
            </p:nvSpPr>
            <p:spPr>
              <a:xfrm rot="5400000" flipH="1">
                <a:off x="67962" y="-67962"/>
                <a:ext cx="540253" cy="676176"/>
              </a:xfrm>
              <a:custGeom>
                <a:avLst/>
                <a:gdLst>
                  <a:gd name="connsiteX0" fmla="*/ 540253 w 540253"/>
                  <a:gd name="connsiteY0" fmla="*/ 242105 h 676176"/>
                  <a:gd name="connsiteX1" fmla="*/ 540253 w 540253"/>
                  <a:gd name="connsiteY1" fmla="*/ 0 h 676176"/>
                  <a:gd name="connsiteX2" fmla="*/ 360944 w 540253"/>
                  <a:gd name="connsiteY2" fmla="*/ 239603 h 676176"/>
                  <a:gd name="connsiteX3" fmla="*/ 24330 w 540253"/>
                  <a:gd name="connsiteY3" fmla="*/ 649221 h 676176"/>
                  <a:gd name="connsiteX4" fmla="*/ 0 w 540253"/>
                  <a:gd name="connsiteY4" fmla="*/ 676176 h 676176"/>
                  <a:gd name="connsiteX5" fmla="*/ 189920 w 540253"/>
                  <a:gd name="connsiteY5" fmla="*/ 676176 h 676176"/>
                  <a:gd name="connsiteX6" fmla="*/ 450228 w 540253"/>
                  <a:gd name="connsiteY6" fmla="*/ 361883 h 67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253" h="676176">
                    <a:moveTo>
                      <a:pt x="540253" y="242105"/>
                    </a:moveTo>
                    <a:lnTo>
                      <a:pt x="540253" y="0"/>
                    </a:lnTo>
                    <a:lnTo>
                      <a:pt x="360944" y="239603"/>
                    </a:lnTo>
                    <a:cubicBezTo>
                      <a:pt x="251948" y="379099"/>
                      <a:pt x="139978" y="515873"/>
                      <a:pt x="24330" y="649221"/>
                    </a:cubicBezTo>
                    <a:lnTo>
                      <a:pt x="0" y="676176"/>
                    </a:lnTo>
                    <a:lnTo>
                      <a:pt x="189920" y="676176"/>
                    </a:lnTo>
                    <a:lnTo>
                      <a:pt x="450228" y="361883"/>
                    </a:lnTo>
                    <a:close/>
                  </a:path>
                </a:pathLst>
              </a:custGeom>
              <a:solidFill>
                <a:srgbClr val="013061"/>
              </a:solidFill>
              <a:ln w="9525" cap="flat">
                <a:noFill/>
                <a:prstDash val="solid"/>
                <a:miter/>
              </a:ln>
            </p:spPr>
            <p:txBody>
              <a:bodyPr wrap="square" rtlCol="0" anchor="ctr">
                <a:noAutofit/>
              </a:bodyPr>
              <a:lstStyle/>
              <a:p>
                <a:endParaRPr lang="en-US"/>
              </a:p>
            </p:txBody>
          </p:sp>
          <p:sp>
            <p:nvSpPr>
              <p:cNvPr id="30" name="Freeform: Shape 29">
                <a:extLst>
                  <a:ext uri="{FF2B5EF4-FFF2-40B4-BE49-F238E27FC236}">
                    <a16:creationId xmlns:a16="http://schemas.microsoft.com/office/drawing/2014/main" id="{228C849D-BCA2-48F3-892B-9AADB7BCC28E}"/>
                  </a:ext>
                </a:extLst>
              </p:cNvPr>
              <p:cNvSpPr/>
              <p:nvPr/>
            </p:nvSpPr>
            <p:spPr>
              <a:xfrm rot="5400000" flipH="1">
                <a:off x="674178" y="-674179"/>
                <a:ext cx="1557575" cy="2905931"/>
              </a:xfrm>
              <a:custGeom>
                <a:avLst/>
                <a:gdLst>
                  <a:gd name="connsiteX0" fmla="*/ 1557575 w 1557575"/>
                  <a:gd name="connsiteY0" fmla="*/ 207918 h 2905931"/>
                  <a:gd name="connsiteX1" fmla="*/ 1557575 w 1557575"/>
                  <a:gd name="connsiteY1" fmla="*/ 0 h 2905931"/>
                  <a:gd name="connsiteX2" fmla="*/ 1488822 w 1557575"/>
                  <a:gd name="connsiteY2" fmla="*/ 144843 h 2905931"/>
                  <a:gd name="connsiteX3" fmla="*/ 1058141 w 1557575"/>
                  <a:gd name="connsiteY3" fmla="*/ 1103868 h 2905931"/>
                  <a:gd name="connsiteX4" fmla="*/ 636015 w 1557575"/>
                  <a:gd name="connsiteY4" fmla="*/ 1951091 h 2905931"/>
                  <a:gd name="connsiteX5" fmla="*/ 34647 w 1557575"/>
                  <a:gd name="connsiteY5" fmla="*/ 2864984 h 2905931"/>
                  <a:gd name="connsiteX6" fmla="*/ 0 w 1557575"/>
                  <a:gd name="connsiteY6" fmla="*/ 2905931 h 2905931"/>
                  <a:gd name="connsiteX7" fmla="*/ 115964 w 1557575"/>
                  <a:gd name="connsiteY7" fmla="*/ 2905931 h 2905931"/>
                  <a:gd name="connsiteX8" fmla="*/ 216207 w 1557575"/>
                  <a:gd name="connsiteY8" fmla="*/ 2776822 h 2905931"/>
                  <a:gd name="connsiteX9" fmla="*/ 618901 w 1557575"/>
                  <a:gd name="connsiteY9" fmla="*/ 2161357 h 2905931"/>
                  <a:gd name="connsiteX10" fmla="*/ 1076204 w 1557575"/>
                  <a:gd name="connsiteY10" fmla="*/ 1272081 h 2905931"/>
                  <a:gd name="connsiteX11" fmla="*/ 1466004 w 1557575"/>
                  <a:gd name="connsiteY11" fmla="*/ 407421 h 29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7575" h="2905931">
                    <a:moveTo>
                      <a:pt x="1557575" y="207918"/>
                    </a:moveTo>
                    <a:lnTo>
                      <a:pt x="1557575" y="0"/>
                    </a:lnTo>
                    <a:lnTo>
                      <a:pt x="1488822" y="144843"/>
                    </a:lnTo>
                    <a:cubicBezTo>
                      <a:pt x="1343360" y="463835"/>
                      <a:pt x="1204553" y="785903"/>
                      <a:pt x="1058141" y="1103868"/>
                    </a:cubicBezTo>
                    <a:cubicBezTo>
                      <a:pt x="925988" y="1391062"/>
                      <a:pt x="788133" y="1675179"/>
                      <a:pt x="636015" y="1951091"/>
                    </a:cubicBezTo>
                    <a:cubicBezTo>
                      <a:pt x="457753" y="2274185"/>
                      <a:pt x="259704" y="2580546"/>
                      <a:pt x="34647" y="2864984"/>
                    </a:cubicBezTo>
                    <a:lnTo>
                      <a:pt x="0" y="2905931"/>
                    </a:lnTo>
                    <a:lnTo>
                      <a:pt x="115964" y="2905931"/>
                    </a:lnTo>
                    <a:lnTo>
                      <a:pt x="216207" y="2776822"/>
                    </a:lnTo>
                    <a:cubicBezTo>
                      <a:pt x="361670" y="2580610"/>
                      <a:pt x="494832" y="2374446"/>
                      <a:pt x="618901" y="2161357"/>
                    </a:cubicBezTo>
                    <a:cubicBezTo>
                      <a:pt x="785280" y="1873138"/>
                      <a:pt x="934545" y="1574661"/>
                      <a:pt x="1076204" y="1272081"/>
                    </a:cubicBezTo>
                    <a:cubicBezTo>
                      <a:pt x="1210258" y="985912"/>
                      <a:pt x="1336705" y="695642"/>
                      <a:pt x="1466004" y="407421"/>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31" name="Freeform: Shape 30">
                <a:extLst>
                  <a:ext uri="{FF2B5EF4-FFF2-40B4-BE49-F238E27FC236}">
                    <a16:creationId xmlns:a16="http://schemas.microsoft.com/office/drawing/2014/main" id="{608E33D0-A501-4402-87F3-10FCEEEF8422}"/>
                  </a:ext>
                </a:extLst>
              </p:cNvPr>
              <p:cNvSpPr/>
              <p:nvPr/>
            </p:nvSpPr>
            <p:spPr>
              <a:xfrm rot="5400000" flipH="1">
                <a:off x="873955" y="-873959"/>
                <a:ext cx="1706093" cy="3454004"/>
              </a:xfrm>
              <a:custGeom>
                <a:avLst/>
                <a:gdLst>
                  <a:gd name="connsiteX0" fmla="*/ 1706093 w 1706093"/>
                  <a:gd name="connsiteY0" fmla="*/ 193520 h 3454004"/>
                  <a:gd name="connsiteX1" fmla="*/ 1706093 w 1706093"/>
                  <a:gd name="connsiteY1" fmla="*/ 0 h 3454004"/>
                  <a:gd name="connsiteX2" fmla="*/ 1648746 w 1706093"/>
                  <a:gd name="connsiteY2" fmla="*/ 122632 h 3454004"/>
                  <a:gd name="connsiteX3" fmla="*/ 1452895 w 1706093"/>
                  <a:gd name="connsiteY3" fmla="*/ 587271 h 3454004"/>
                  <a:gd name="connsiteX4" fmla="*/ 1089716 w 1706093"/>
                  <a:gd name="connsiteY4" fmla="*/ 1491932 h 3454004"/>
                  <a:gd name="connsiteX5" fmla="*/ 706571 w 1706093"/>
                  <a:gd name="connsiteY5" fmla="*/ 2349413 h 3454004"/>
                  <a:gd name="connsiteX6" fmla="*/ 298707 w 1706093"/>
                  <a:gd name="connsiteY6" fmla="*/ 3061244 h 3454004"/>
                  <a:gd name="connsiteX7" fmla="*/ 263530 w 1706093"/>
                  <a:gd name="connsiteY7" fmla="*/ 3111504 h 3454004"/>
                  <a:gd name="connsiteX8" fmla="*/ 244515 w 1706093"/>
                  <a:gd name="connsiteY8" fmla="*/ 3126889 h 3454004"/>
                  <a:gd name="connsiteX9" fmla="*/ 157998 w 1706093"/>
                  <a:gd name="connsiteY9" fmla="*/ 3250998 h 3454004"/>
                  <a:gd name="connsiteX10" fmla="*/ 0 w 1706093"/>
                  <a:gd name="connsiteY10" fmla="*/ 3454004 h 3454004"/>
                  <a:gd name="connsiteX11" fmla="*/ 112368 w 1706093"/>
                  <a:gd name="connsiteY11" fmla="*/ 3454004 h 3454004"/>
                  <a:gd name="connsiteX12" fmla="*/ 220747 w 1706093"/>
                  <a:gd name="connsiteY12" fmla="*/ 3313565 h 3454004"/>
                  <a:gd name="connsiteX13" fmla="*/ 763615 w 1706093"/>
                  <a:gd name="connsiteY13" fmla="*/ 2411980 h 3454004"/>
                  <a:gd name="connsiteX14" fmla="*/ 1089716 w 1706093"/>
                  <a:gd name="connsiteY14" fmla="*/ 1697071 h 3454004"/>
                  <a:gd name="connsiteX15" fmla="*/ 1447191 w 1706093"/>
                  <a:gd name="connsiteY15" fmla="*/ 809847 h 3454004"/>
                  <a:gd name="connsiteX16" fmla="*/ 1639595 w 1706093"/>
                  <a:gd name="connsiteY16" fmla="*/ 342258 h 345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6093" h="3454004">
                    <a:moveTo>
                      <a:pt x="1706093" y="193520"/>
                    </a:moveTo>
                    <a:lnTo>
                      <a:pt x="1706093" y="0"/>
                    </a:lnTo>
                    <a:lnTo>
                      <a:pt x="1648746" y="122632"/>
                    </a:lnTo>
                    <a:cubicBezTo>
                      <a:pt x="1581007" y="276229"/>
                      <a:pt x="1516119" y="431366"/>
                      <a:pt x="1452895" y="587271"/>
                    </a:cubicBezTo>
                    <a:cubicBezTo>
                      <a:pt x="1330251" y="887799"/>
                      <a:pt x="1213311" y="1191405"/>
                      <a:pt x="1089716" y="1491932"/>
                    </a:cubicBezTo>
                    <a:cubicBezTo>
                      <a:pt x="970875" y="1782204"/>
                      <a:pt x="846328" y="2070424"/>
                      <a:pt x="706571" y="2349413"/>
                    </a:cubicBezTo>
                    <a:cubicBezTo>
                      <a:pt x="583926" y="2595579"/>
                      <a:pt x="449874" y="2833540"/>
                      <a:pt x="298707" y="3061244"/>
                    </a:cubicBezTo>
                    <a:cubicBezTo>
                      <a:pt x="287298" y="3078682"/>
                      <a:pt x="276840" y="3096118"/>
                      <a:pt x="263530" y="3111504"/>
                    </a:cubicBezTo>
                    <a:cubicBezTo>
                      <a:pt x="254973" y="3113555"/>
                      <a:pt x="251170" y="3121761"/>
                      <a:pt x="244515" y="3126889"/>
                    </a:cubicBezTo>
                    <a:cubicBezTo>
                      <a:pt x="215993" y="3168943"/>
                      <a:pt x="187471" y="3209970"/>
                      <a:pt x="157998" y="3250998"/>
                    </a:cubicBezTo>
                    <a:lnTo>
                      <a:pt x="0" y="3454004"/>
                    </a:lnTo>
                    <a:lnTo>
                      <a:pt x="112368" y="3454004"/>
                    </a:lnTo>
                    <a:lnTo>
                      <a:pt x="220747" y="3313565"/>
                    </a:lnTo>
                    <a:cubicBezTo>
                      <a:pt x="428006" y="3031500"/>
                      <a:pt x="604842" y="2727894"/>
                      <a:pt x="763615" y="2411980"/>
                    </a:cubicBezTo>
                    <a:cubicBezTo>
                      <a:pt x="881506" y="2178122"/>
                      <a:pt x="987988" y="1939135"/>
                      <a:pt x="1089716" y="1697071"/>
                    </a:cubicBezTo>
                    <a:cubicBezTo>
                      <a:pt x="1212361" y="1403723"/>
                      <a:pt x="1328350" y="1106272"/>
                      <a:pt x="1447191" y="809847"/>
                    </a:cubicBezTo>
                    <a:cubicBezTo>
                      <a:pt x="1509939" y="653428"/>
                      <a:pt x="1573638" y="497266"/>
                      <a:pt x="1639595" y="342258"/>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32" name="Freeform: Shape 31">
                <a:extLst>
                  <a:ext uri="{FF2B5EF4-FFF2-40B4-BE49-F238E27FC236}">
                    <a16:creationId xmlns:a16="http://schemas.microsoft.com/office/drawing/2014/main" id="{8BE0982D-645A-46BD-A494-32811C974575}"/>
                  </a:ext>
                </a:extLst>
              </p:cNvPr>
              <p:cNvSpPr/>
              <p:nvPr/>
            </p:nvSpPr>
            <p:spPr>
              <a:xfrm rot="5400000" flipH="1">
                <a:off x="1109361" y="-1109366"/>
                <a:ext cx="1783878" cy="4002601"/>
              </a:xfrm>
              <a:custGeom>
                <a:avLst/>
                <a:gdLst>
                  <a:gd name="connsiteX0" fmla="*/ 1783878 w 1783878"/>
                  <a:gd name="connsiteY0" fmla="*/ 184088 h 4002601"/>
                  <a:gd name="connsiteX1" fmla="*/ 1783878 w 1783878"/>
                  <a:gd name="connsiteY1" fmla="*/ 0 h 4002601"/>
                  <a:gd name="connsiteX2" fmla="*/ 1689453 w 1783878"/>
                  <a:gd name="connsiteY2" fmla="*/ 194280 h 4002601"/>
                  <a:gd name="connsiteX3" fmla="*/ 1332928 w 1783878"/>
                  <a:gd name="connsiteY3" fmla="*/ 1088685 h 4002601"/>
                  <a:gd name="connsiteX4" fmla="*/ 984960 w 1783878"/>
                  <a:gd name="connsiteY4" fmla="*/ 2064120 h 4002601"/>
                  <a:gd name="connsiteX5" fmla="*/ 641746 w 1783878"/>
                  <a:gd name="connsiteY5" fmla="*/ 2911343 h 4002601"/>
                  <a:gd name="connsiteX6" fmla="*/ 290925 w 1783878"/>
                  <a:gd name="connsiteY6" fmla="*/ 3580096 h 4002601"/>
                  <a:gd name="connsiteX7" fmla="*/ 66196 w 1783878"/>
                  <a:gd name="connsiteY7" fmla="*/ 3918575 h 4002601"/>
                  <a:gd name="connsiteX8" fmla="*/ 0 w 1783878"/>
                  <a:gd name="connsiteY8" fmla="*/ 4002601 h 4002601"/>
                  <a:gd name="connsiteX9" fmla="*/ 86507 w 1783878"/>
                  <a:gd name="connsiteY9" fmla="*/ 4002601 h 4002601"/>
                  <a:gd name="connsiteX10" fmla="*/ 182542 w 1783878"/>
                  <a:gd name="connsiteY10" fmla="*/ 3882932 h 4002601"/>
                  <a:gd name="connsiteX11" fmla="*/ 341315 w 1783878"/>
                  <a:gd name="connsiteY11" fmla="*/ 3660100 h 4002601"/>
                  <a:gd name="connsiteX12" fmla="*/ 352723 w 1783878"/>
                  <a:gd name="connsiteY12" fmla="*/ 3638560 h 4002601"/>
                  <a:gd name="connsiteX13" fmla="*/ 656958 w 1783878"/>
                  <a:gd name="connsiteY13" fmla="*/ 3070325 h 4002601"/>
                  <a:gd name="connsiteX14" fmla="*/ 1022989 w 1783878"/>
                  <a:gd name="connsiteY14" fmla="*/ 2191306 h 4002601"/>
                  <a:gd name="connsiteX15" fmla="*/ 1285391 w 1783878"/>
                  <a:gd name="connsiteY15" fmla="*/ 1457936 h 4002601"/>
                  <a:gd name="connsiteX16" fmla="*/ 1647621 w 1783878"/>
                  <a:gd name="connsiteY16" fmla="*/ 492757 h 400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3878" h="4002601">
                    <a:moveTo>
                      <a:pt x="1783878" y="184088"/>
                    </a:moveTo>
                    <a:lnTo>
                      <a:pt x="1783878" y="0"/>
                    </a:lnTo>
                    <a:lnTo>
                      <a:pt x="1689453" y="194280"/>
                    </a:lnTo>
                    <a:cubicBezTo>
                      <a:pt x="1557301" y="486603"/>
                      <a:pt x="1442262" y="786106"/>
                      <a:pt x="1332928" y="1088685"/>
                    </a:cubicBezTo>
                    <a:cubicBezTo>
                      <a:pt x="1215988" y="1412804"/>
                      <a:pt x="1103802" y="1740001"/>
                      <a:pt x="984960" y="2064120"/>
                    </a:cubicBezTo>
                    <a:cubicBezTo>
                      <a:pt x="879429" y="2350289"/>
                      <a:pt x="768193" y="2634406"/>
                      <a:pt x="641746" y="2911343"/>
                    </a:cubicBezTo>
                    <a:cubicBezTo>
                      <a:pt x="536214" y="3141099"/>
                      <a:pt x="421176" y="3364700"/>
                      <a:pt x="290925" y="3580096"/>
                    </a:cubicBezTo>
                    <a:cubicBezTo>
                      <a:pt x="220571" y="3697025"/>
                      <a:pt x="145463" y="3809595"/>
                      <a:pt x="66196" y="3918575"/>
                    </a:cubicBezTo>
                    <a:lnTo>
                      <a:pt x="0" y="4002601"/>
                    </a:lnTo>
                    <a:lnTo>
                      <a:pt x="86507" y="4002601"/>
                    </a:lnTo>
                    <a:lnTo>
                      <a:pt x="182542" y="3882932"/>
                    </a:lnTo>
                    <a:cubicBezTo>
                      <a:pt x="237685" y="3810620"/>
                      <a:pt x="290926" y="3736514"/>
                      <a:pt x="341315" y="3660100"/>
                    </a:cubicBezTo>
                    <a:cubicBezTo>
                      <a:pt x="343216" y="3651894"/>
                      <a:pt x="347969" y="3644715"/>
                      <a:pt x="352723" y="3638560"/>
                    </a:cubicBezTo>
                    <a:cubicBezTo>
                      <a:pt x="463959" y="3454961"/>
                      <a:pt x="564736" y="3265208"/>
                      <a:pt x="656958" y="3070325"/>
                    </a:cubicBezTo>
                    <a:cubicBezTo>
                      <a:pt x="793863" y="2784157"/>
                      <a:pt x="911754" y="2489783"/>
                      <a:pt x="1022989" y="2191306"/>
                    </a:cubicBezTo>
                    <a:cubicBezTo>
                      <a:pt x="1113309" y="1948216"/>
                      <a:pt x="1198875" y="1703076"/>
                      <a:pt x="1285391" y="1457936"/>
                    </a:cubicBezTo>
                    <a:cubicBezTo>
                      <a:pt x="1399479" y="1132790"/>
                      <a:pt x="1516420" y="809696"/>
                      <a:pt x="1647621" y="492757"/>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33" name="Freeform: Shape 32">
                <a:extLst>
                  <a:ext uri="{FF2B5EF4-FFF2-40B4-BE49-F238E27FC236}">
                    <a16:creationId xmlns:a16="http://schemas.microsoft.com/office/drawing/2014/main" id="{9A6474F5-5D73-48D8-8596-DD5E58C14DC3}"/>
                  </a:ext>
                </a:extLst>
              </p:cNvPr>
              <p:cNvSpPr/>
              <p:nvPr/>
            </p:nvSpPr>
            <p:spPr>
              <a:xfrm rot="5400000" flipH="1">
                <a:off x="1352407" y="-1352413"/>
                <a:ext cx="1914409" cy="4619224"/>
              </a:xfrm>
              <a:custGeom>
                <a:avLst/>
                <a:gdLst>
                  <a:gd name="connsiteX0" fmla="*/ 1914409 w 1914409"/>
                  <a:gd name="connsiteY0" fmla="*/ 110727 h 4619224"/>
                  <a:gd name="connsiteX1" fmla="*/ 1914409 w 1914409"/>
                  <a:gd name="connsiteY1" fmla="*/ 0 h 4619224"/>
                  <a:gd name="connsiteX2" fmla="*/ 1812852 w 1914409"/>
                  <a:gd name="connsiteY2" fmla="*/ 179589 h 4619224"/>
                  <a:gd name="connsiteX3" fmla="*/ 1660260 w 1914409"/>
                  <a:gd name="connsiteY3" fmla="*/ 497041 h 4619224"/>
                  <a:gd name="connsiteX4" fmla="*/ 1360779 w 1914409"/>
                  <a:gd name="connsiteY4" fmla="*/ 1267338 h 4619224"/>
                  <a:gd name="connsiteX5" fmla="*/ 1077460 w 1914409"/>
                  <a:gd name="connsiteY5" fmla="*/ 2150460 h 4619224"/>
                  <a:gd name="connsiteX6" fmla="*/ 793192 w 1914409"/>
                  <a:gd name="connsiteY6" fmla="*/ 3021274 h 4619224"/>
                  <a:gd name="connsiteX7" fmla="*/ 384377 w 1914409"/>
                  <a:gd name="connsiteY7" fmla="*/ 3990554 h 4619224"/>
                  <a:gd name="connsiteX8" fmla="*/ 53522 w 1914409"/>
                  <a:gd name="connsiteY8" fmla="*/ 4545455 h 4619224"/>
                  <a:gd name="connsiteX9" fmla="*/ 0 w 1914409"/>
                  <a:gd name="connsiteY9" fmla="*/ 4619224 h 4619224"/>
                  <a:gd name="connsiteX10" fmla="*/ 70860 w 1914409"/>
                  <a:gd name="connsiteY10" fmla="*/ 4619224 h 4619224"/>
                  <a:gd name="connsiteX11" fmla="*/ 185317 w 1914409"/>
                  <a:gd name="connsiteY11" fmla="*/ 4450563 h 4619224"/>
                  <a:gd name="connsiteX12" fmla="*/ 513677 w 1914409"/>
                  <a:gd name="connsiteY12" fmla="*/ 3854138 h 4619224"/>
                  <a:gd name="connsiteX13" fmla="*/ 869251 w 1914409"/>
                  <a:gd name="connsiteY13" fmla="*/ 2967938 h 4619224"/>
                  <a:gd name="connsiteX14" fmla="*/ 1157322 w 1914409"/>
                  <a:gd name="connsiteY14" fmla="*/ 2073533 h 4619224"/>
                  <a:gd name="connsiteX15" fmla="*/ 1422577 w 1914409"/>
                  <a:gd name="connsiteY15" fmla="*/ 1254003 h 4619224"/>
                  <a:gd name="connsiteX16" fmla="*/ 1761988 w 1914409"/>
                  <a:gd name="connsiteY16" fmla="*/ 407806 h 4619224"/>
                  <a:gd name="connsiteX17" fmla="*/ 1889149 w 1914409"/>
                  <a:gd name="connsiteY17" fmla="*/ 154844 h 46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4409" h="4619224">
                    <a:moveTo>
                      <a:pt x="1914409" y="110727"/>
                    </a:moveTo>
                    <a:lnTo>
                      <a:pt x="1914409" y="0"/>
                    </a:lnTo>
                    <a:lnTo>
                      <a:pt x="1812852" y="179589"/>
                    </a:lnTo>
                    <a:cubicBezTo>
                      <a:pt x="1758898" y="283440"/>
                      <a:pt x="1708271" y="389343"/>
                      <a:pt x="1660260" y="497041"/>
                    </a:cubicBezTo>
                    <a:cubicBezTo>
                      <a:pt x="1548073" y="748337"/>
                      <a:pt x="1451099" y="1005785"/>
                      <a:pt x="1360779" y="1267338"/>
                    </a:cubicBezTo>
                    <a:cubicBezTo>
                      <a:pt x="1260952" y="1558635"/>
                      <a:pt x="1169682" y="1855060"/>
                      <a:pt x="1077460" y="2150460"/>
                    </a:cubicBezTo>
                    <a:cubicBezTo>
                      <a:pt x="986190" y="2442783"/>
                      <a:pt x="894920" y="2734080"/>
                      <a:pt x="793192" y="3021274"/>
                    </a:cubicBezTo>
                    <a:cubicBezTo>
                      <a:pt x="675301" y="3353599"/>
                      <a:pt x="544100" y="3678743"/>
                      <a:pt x="384377" y="3990554"/>
                    </a:cubicBezTo>
                    <a:cubicBezTo>
                      <a:pt x="285501" y="4183385"/>
                      <a:pt x="176166" y="4369036"/>
                      <a:pt x="53522" y="4545455"/>
                    </a:cubicBezTo>
                    <a:lnTo>
                      <a:pt x="0" y="4619224"/>
                    </a:lnTo>
                    <a:lnTo>
                      <a:pt x="70860" y="4619224"/>
                    </a:lnTo>
                    <a:lnTo>
                      <a:pt x="185317" y="4450563"/>
                    </a:lnTo>
                    <a:cubicBezTo>
                      <a:pt x="307605" y="4260120"/>
                      <a:pt x="415989" y="4060302"/>
                      <a:pt x="513677" y="3854138"/>
                    </a:cubicBezTo>
                    <a:cubicBezTo>
                      <a:pt x="649631" y="3566943"/>
                      <a:pt x="764670" y="3269492"/>
                      <a:pt x="869251" y="2967938"/>
                    </a:cubicBezTo>
                    <a:cubicBezTo>
                      <a:pt x="971930" y="2672538"/>
                      <a:pt x="1064150" y="2373036"/>
                      <a:pt x="1157322" y="2073533"/>
                    </a:cubicBezTo>
                    <a:cubicBezTo>
                      <a:pt x="1242888" y="1798647"/>
                      <a:pt x="1328454" y="1524786"/>
                      <a:pt x="1422577" y="1254003"/>
                    </a:cubicBezTo>
                    <a:cubicBezTo>
                      <a:pt x="1522403" y="965784"/>
                      <a:pt x="1631738" y="682692"/>
                      <a:pt x="1761988" y="407806"/>
                    </a:cubicBezTo>
                    <a:cubicBezTo>
                      <a:pt x="1802395" y="322161"/>
                      <a:pt x="1844702" y="237797"/>
                      <a:pt x="1889149" y="154844"/>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34" name="Freeform: Shape 33">
                <a:extLst>
                  <a:ext uri="{FF2B5EF4-FFF2-40B4-BE49-F238E27FC236}">
                    <a16:creationId xmlns:a16="http://schemas.microsoft.com/office/drawing/2014/main" id="{33AA44CE-20D0-49CE-BE4A-E77DDC86A632}"/>
                  </a:ext>
                </a:extLst>
              </p:cNvPr>
              <p:cNvSpPr/>
              <p:nvPr/>
            </p:nvSpPr>
            <p:spPr>
              <a:xfrm rot="5400000" flipH="1">
                <a:off x="1560878" y="-1560884"/>
                <a:ext cx="2032643" cy="5154401"/>
              </a:xfrm>
              <a:custGeom>
                <a:avLst/>
                <a:gdLst>
                  <a:gd name="connsiteX0" fmla="*/ 2032643 w 2032643"/>
                  <a:gd name="connsiteY0" fmla="*/ 96883 h 5154401"/>
                  <a:gd name="connsiteX1" fmla="*/ 2032643 w 2032643"/>
                  <a:gd name="connsiteY1" fmla="*/ 0 h 5154401"/>
                  <a:gd name="connsiteX2" fmla="*/ 1904880 w 2032643"/>
                  <a:gd name="connsiteY2" fmla="*/ 191774 h 5154401"/>
                  <a:gd name="connsiteX3" fmla="*/ 1558874 w 2032643"/>
                  <a:gd name="connsiteY3" fmla="*/ 868107 h 5154401"/>
                  <a:gd name="connsiteX4" fmla="*/ 1315486 w 2032643"/>
                  <a:gd name="connsiteY4" fmla="*/ 1526603 h 5154401"/>
                  <a:gd name="connsiteX5" fmla="*/ 1069246 w 2032643"/>
                  <a:gd name="connsiteY5" fmla="*/ 2367672 h 5154401"/>
                  <a:gd name="connsiteX6" fmla="*/ 834416 w 2032643"/>
                  <a:gd name="connsiteY6" fmla="*/ 3216946 h 5154401"/>
                  <a:gd name="connsiteX7" fmla="*/ 459827 w 2032643"/>
                  <a:gd name="connsiteY7" fmla="*/ 4302130 h 5154401"/>
                  <a:gd name="connsiteX8" fmla="*/ 178411 w 2032643"/>
                  <a:gd name="connsiteY8" fmla="*/ 4872416 h 5154401"/>
                  <a:gd name="connsiteX9" fmla="*/ 13458 w 2032643"/>
                  <a:gd name="connsiteY9" fmla="*/ 5135892 h 5154401"/>
                  <a:gd name="connsiteX10" fmla="*/ 0 w 2032643"/>
                  <a:gd name="connsiteY10" fmla="*/ 5154401 h 5154401"/>
                  <a:gd name="connsiteX11" fmla="*/ 65222 w 2032643"/>
                  <a:gd name="connsiteY11" fmla="*/ 5154401 h 5154401"/>
                  <a:gd name="connsiteX12" fmla="*/ 69715 w 2032643"/>
                  <a:gd name="connsiteY12" fmla="*/ 5148136 h 5154401"/>
                  <a:gd name="connsiteX13" fmla="*/ 486448 w 2032643"/>
                  <a:gd name="connsiteY13" fmla="*/ 4369826 h 5154401"/>
                  <a:gd name="connsiteX14" fmla="*/ 761209 w 2032643"/>
                  <a:gd name="connsiteY14" fmla="*/ 3628250 h 5154401"/>
                  <a:gd name="connsiteX15" fmla="*/ 1056887 w 2032643"/>
                  <a:gd name="connsiteY15" fmla="*/ 2601530 h 5154401"/>
                  <a:gd name="connsiteX16" fmla="*/ 1192841 w 2032643"/>
                  <a:gd name="connsiteY16" fmla="*/ 2107145 h 5154401"/>
                  <a:gd name="connsiteX17" fmla="*/ 1461899 w 2032643"/>
                  <a:gd name="connsiteY17" fmla="*/ 1254794 h 5154401"/>
                  <a:gd name="connsiteX18" fmla="*/ 1824128 w 2032643"/>
                  <a:gd name="connsiteY18" fmla="*/ 435264 h 5154401"/>
                  <a:gd name="connsiteX19" fmla="*/ 1991932 w 2032643"/>
                  <a:gd name="connsiteY19" fmla="*/ 153455 h 5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32643" h="5154401">
                    <a:moveTo>
                      <a:pt x="2032643" y="96883"/>
                    </a:moveTo>
                    <a:lnTo>
                      <a:pt x="2032643" y="0"/>
                    </a:lnTo>
                    <a:lnTo>
                      <a:pt x="1904880" y="191774"/>
                    </a:lnTo>
                    <a:cubicBezTo>
                      <a:pt x="1771897" y="405968"/>
                      <a:pt x="1658701" y="632711"/>
                      <a:pt x="1558874" y="868107"/>
                    </a:cubicBezTo>
                    <a:cubicBezTo>
                      <a:pt x="1467603" y="1083503"/>
                      <a:pt x="1387742" y="1303001"/>
                      <a:pt x="1315486" y="1526603"/>
                    </a:cubicBezTo>
                    <a:cubicBezTo>
                      <a:pt x="1225166" y="1804566"/>
                      <a:pt x="1146256" y="2085606"/>
                      <a:pt x="1069246" y="2367672"/>
                    </a:cubicBezTo>
                    <a:cubicBezTo>
                      <a:pt x="991286" y="2650763"/>
                      <a:pt x="916179" y="2934881"/>
                      <a:pt x="834416" y="3216946"/>
                    </a:cubicBezTo>
                    <a:cubicBezTo>
                      <a:pt x="727934" y="3585171"/>
                      <a:pt x="609092" y="3950318"/>
                      <a:pt x="459827" y="4302130"/>
                    </a:cubicBezTo>
                    <a:cubicBezTo>
                      <a:pt x="376163" y="4498038"/>
                      <a:pt x="283941" y="4688818"/>
                      <a:pt x="178411" y="4872416"/>
                    </a:cubicBezTo>
                    <a:cubicBezTo>
                      <a:pt x="126595" y="4962677"/>
                      <a:pt x="71453" y="5050374"/>
                      <a:pt x="13458" y="5135892"/>
                    </a:cubicBezTo>
                    <a:lnTo>
                      <a:pt x="0" y="5154401"/>
                    </a:lnTo>
                    <a:lnTo>
                      <a:pt x="65222" y="5154401"/>
                    </a:lnTo>
                    <a:lnTo>
                      <a:pt x="69715" y="5148136"/>
                    </a:lnTo>
                    <a:cubicBezTo>
                      <a:pt x="231889" y="4904277"/>
                      <a:pt x="368794" y="4643687"/>
                      <a:pt x="486448" y="4369826"/>
                    </a:cubicBezTo>
                    <a:cubicBezTo>
                      <a:pt x="591028" y="4127762"/>
                      <a:pt x="680397" y="3879545"/>
                      <a:pt x="761209" y="3628250"/>
                    </a:cubicBezTo>
                    <a:cubicBezTo>
                      <a:pt x="870544" y="3289771"/>
                      <a:pt x="963715" y="2945138"/>
                      <a:pt x="1056887" y="2601530"/>
                    </a:cubicBezTo>
                    <a:cubicBezTo>
                      <a:pt x="1101571" y="2436394"/>
                      <a:pt x="1146256" y="2271256"/>
                      <a:pt x="1192841" y="2107145"/>
                    </a:cubicBezTo>
                    <a:cubicBezTo>
                      <a:pt x="1273654" y="1819951"/>
                      <a:pt x="1360170" y="1534808"/>
                      <a:pt x="1461899" y="1254794"/>
                    </a:cubicBezTo>
                    <a:cubicBezTo>
                      <a:pt x="1564578" y="972728"/>
                      <a:pt x="1681518" y="696817"/>
                      <a:pt x="1824128" y="435264"/>
                    </a:cubicBezTo>
                    <a:cubicBezTo>
                      <a:pt x="1876894" y="338849"/>
                      <a:pt x="1932511" y="244742"/>
                      <a:pt x="1991932" y="153455"/>
                    </a:cubicBezTo>
                    <a:close/>
                  </a:path>
                </a:pathLst>
              </a:custGeom>
              <a:solidFill>
                <a:srgbClr val="B2B2B2"/>
              </a:solidFill>
              <a:ln w="9525" cap="flat">
                <a:noFill/>
                <a:prstDash val="solid"/>
                <a:miter/>
              </a:ln>
            </p:spPr>
            <p:txBody>
              <a:bodyPr wrap="square" rtlCol="0" anchor="ctr">
                <a:noAutofit/>
              </a:bodyPr>
              <a:lstStyle/>
              <a:p>
                <a:endParaRPr lang="en-US"/>
              </a:p>
            </p:txBody>
          </p:sp>
        </p:grpSp>
        <p:sp>
          <p:nvSpPr>
            <p:cNvPr id="35" name="Rectangle 34">
              <a:extLst>
                <a:ext uri="{FF2B5EF4-FFF2-40B4-BE49-F238E27FC236}">
                  <a16:creationId xmlns:a16="http://schemas.microsoft.com/office/drawing/2014/main" id="{E74B9210-1829-4622-87CA-C1F8EAAFA6EC}"/>
                </a:ext>
              </a:extLst>
            </p:cNvPr>
            <p:cNvSpPr/>
            <p:nvPr userDrawn="1"/>
          </p:nvSpPr>
          <p:spPr>
            <a:xfrm>
              <a:off x="1" y="-2544"/>
              <a:ext cx="7102258" cy="2728687"/>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3553633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6900329B-1998-41B8-BB3C-2640FF777BFD}"/>
              </a:ext>
            </a:extLst>
          </p:cNvPr>
          <p:cNvGrpSpPr/>
          <p:nvPr userDrawn="1"/>
        </p:nvGrpSpPr>
        <p:grpSpPr>
          <a:xfrm>
            <a:off x="6848475" y="0"/>
            <a:ext cx="5343525" cy="6867064"/>
            <a:chOff x="6848475" y="0"/>
            <a:chExt cx="5343525" cy="6867064"/>
          </a:xfrm>
        </p:grpSpPr>
        <p:sp>
          <p:nvSpPr>
            <p:cNvPr id="9" name="Graphic 4">
              <a:extLst>
                <a:ext uri="{FF2B5EF4-FFF2-40B4-BE49-F238E27FC236}">
                  <a16:creationId xmlns:a16="http://schemas.microsoft.com/office/drawing/2014/main" id="{EC11A0F8-F1FF-4155-B7A4-78A537E27252}"/>
                </a:ext>
              </a:extLst>
            </p:cNvPr>
            <p:cNvSpPr/>
            <p:nvPr userDrawn="1"/>
          </p:nvSpPr>
          <p:spPr>
            <a:xfrm>
              <a:off x="7902567" y="982992"/>
              <a:ext cx="4289433" cy="5883299"/>
            </a:xfrm>
            <a:custGeom>
              <a:avLst/>
              <a:gdLst>
                <a:gd name="connsiteX0" fmla="*/ 0 w 3209348"/>
                <a:gd name="connsiteY0" fmla="*/ 4399598 h 4401876"/>
                <a:gd name="connsiteX1" fmla="*/ 16193 w 3209348"/>
                <a:gd name="connsiteY1" fmla="*/ 4382453 h 4401876"/>
                <a:gd name="connsiteX2" fmla="*/ 340995 w 3209348"/>
                <a:gd name="connsiteY2" fmla="*/ 4053840 h 4401876"/>
                <a:gd name="connsiteX3" fmla="*/ 903923 w 3209348"/>
                <a:gd name="connsiteY3" fmla="*/ 3359468 h 4401876"/>
                <a:gd name="connsiteX4" fmla="*/ 1434465 w 3209348"/>
                <a:gd name="connsiteY4" fmla="*/ 2547938 h 4401876"/>
                <a:gd name="connsiteX5" fmla="*/ 1902143 w 3209348"/>
                <a:gd name="connsiteY5" fmla="*/ 1765935 h 4401876"/>
                <a:gd name="connsiteX6" fmla="*/ 2466023 w 3209348"/>
                <a:gd name="connsiteY6" fmla="*/ 890588 h 4401876"/>
                <a:gd name="connsiteX7" fmla="*/ 3135630 w 3209348"/>
                <a:gd name="connsiteY7" fmla="*/ 71438 h 4401876"/>
                <a:gd name="connsiteX8" fmla="*/ 3195638 w 3209348"/>
                <a:gd name="connsiteY8" fmla="*/ 10478 h 4401876"/>
                <a:gd name="connsiteX9" fmla="*/ 3206115 w 3209348"/>
                <a:gd name="connsiteY9" fmla="*/ 0 h 4401876"/>
                <a:gd name="connsiteX10" fmla="*/ 3208973 w 3209348"/>
                <a:gd name="connsiteY10" fmla="*/ 16193 h 4401876"/>
                <a:gd name="connsiteX11" fmla="*/ 3208973 w 3209348"/>
                <a:gd name="connsiteY11" fmla="*/ 146685 h 4401876"/>
                <a:gd name="connsiteX12" fmla="*/ 3199448 w 3209348"/>
                <a:gd name="connsiteY12" fmla="*/ 171450 h 4401876"/>
                <a:gd name="connsiteX13" fmla="*/ 2366010 w 3209348"/>
                <a:gd name="connsiteY13" fmla="*/ 1241108 h 4401876"/>
                <a:gd name="connsiteX14" fmla="*/ 1840230 w 3209348"/>
                <a:gd name="connsiteY14" fmla="*/ 2091690 h 4401876"/>
                <a:gd name="connsiteX15" fmla="*/ 1350645 w 3209348"/>
                <a:gd name="connsiteY15" fmla="*/ 2899410 h 4401876"/>
                <a:gd name="connsiteX16" fmla="*/ 833438 w 3209348"/>
                <a:gd name="connsiteY16" fmla="*/ 3646170 h 4401876"/>
                <a:gd name="connsiteX17" fmla="*/ 269558 w 3209348"/>
                <a:gd name="connsiteY17" fmla="*/ 4292918 h 4401876"/>
                <a:gd name="connsiteX18" fmla="*/ 173355 w 3209348"/>
                <a:gd name="connsiteY18" fmla="*/ 4389120 h 4401876"/>
                <a:gd name="connsiteX19" fmla="*/ 146685 w 3209348"/>
                <a:gd name="connsiteY19" fmla="*/ 4400550 h 4401876"/>
                <a:gd name="connsiteX20" fmla="*/ 14288 w 3209348"/>
                <a:gd name="connsiteY20" fmla="*/ 4400550 h 4401876"/>
                <a:gd name="connsiteX21" fmla="*/ 0 w 3209348"/>
                <a:gd name="connsiteY21" fmla="*/ 4399598 h 440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09348" h="4401876">
                  <a:moveTo>
                    <a:pt x="0" y="4399598"/>
                  </a:moveTo>
                  <a:cubicBezTo>
                    <a:pt x="2858" y="4391978"/>
                    <a:pt x="10478" y="4387215"/>
                    <a:pt x="16193" y="4382453"/>
                  </a:cubicBezTo>
                  <a:cubicBezTo>
                    <a:pt x="126683" y="4275773"/>
                    <a:pt x="236220" y="4166235"/>
                    <a:pt x="340995" y="4053840"/>
                  </a:cubicBezTo>
                  <a:cubicBezTo>
                    <a:pt x="543878" y="3834765"/>
                    <a:pt x="729615" y="3602355"/>
                    <a:pt x="903923" y="3359468"/>
                  </a:cubicBezTo>
                  <a:cubicBezTo>
                    <a:pt x="1092518" y="3096578"/>
                    <a:pt x="1265873" y="2824163"/>
                    <a:pt x="1434465" y="2547938"/>
                  </a:cubicBezTo>
                  <a:cubicBezTo>
                    <a:pt x="1592580" y="2288858"/>
                    <a:pt x="1744980" y="2025968"/>
                    <a:pt x="1902143" y="1765935"/>
                  </a:cubicBezTo>
                  <a:cubicBezTo>
                    <a:pt x="2081213" y="1468755"/>
                    <a:pt x="2265998" y="1174433"/>
                    <a:pt x="2466023" y="890588"/>
                  </a:cubicBezTo>
                  <a:cubicBezTo>
                    <a:pt x="2669858" y="601980"/>
                    <a:pt x="2889885" y="325755"/>
                    <a:pt x="3135630" y="71438"/>
                  </a:cubicBezTo>
                  <a:cubicBezTo>
                    <a:pt x="3155633" y="51435"/>
                    <a:pt x="3175635" y="30480"/>
                    <a:pt x="3195638" y="10478"/>
                  </a:cubicBezTo>
                  <a:cubicBezTo>
                    <a:pt x="3199448" y="6668"/>
                    <a:pt x="3202305" y="3810"/>
                    <a:pt x="3206115" y="0"/>
                  </a:cubicBezTo>
                  <a:cubicBezTo>
                    <a:pt x="3210878" y="5715"/>
                    <a:pt x="3208973" y="11430"/>
                    <a:pt x="3208973" y="16193"/>
                  </a:cubicBezTo>
                  <a:cubicBezTo>
                    <a:pt x="3208973" y="60008"/>
                    <a:pt x="3208973" y="102870"/>
                    <a:pt x="3208973" y="146685"/>
                  </a:cubicBezTo>
                  <a:cubicBezTo>
                    <a:pt x="3208973" y="157163"/>
                    <a:pt x="3206115" y="164783"/>
                    <a:pt x="3199448" y="171450"/>
                  </a:cubicBezTo>
                  <a:cubicBezTo>
                    <a:pt x="2885123" y="500063"/>
                    <a:pt x="2615565" y="862965"/>
                    <a:pt x="2366010" y="1241108"/>
                  </a:cubicBezTo>
                  <a:cubicBezTo>
                    <a:pt x="2183130" y="1519238"/>
                    <a:pt x="2010727" y="1804988"/>
                    <a:pt x="1840230" y="2091690"/>
                  </a:cubicBezTo>
                  <a:cubicBezTo>
                    <a:pt x="1679258" y="2362200"/>
                    <a:pt x="1519238" y="2633663"/>
                    <a:pt x="1350645" y="2899410"/>
                  </a:cubicBezTo>
                  <a:cubicBezTo>
                    <a:pt x="1188720" y="3155633"/>
                    <a:pt x="1018223" y="3406140"/>
                    <a:pt x="833438" y="3646170"/>
                  </a:cubicBezTo>
                  <a:cubicBezTo>
                    <a:pt x="659130" y="3872865"/>
                    <a:pt x="472440" y="4090035"/>
                    <a:pt x="269558" y="4292918"/>
                  </a:cubicBezTo>
                  <a:cubicBezTo>
                    <a:pt x="237173" y="4325303"/>
                    <a:pt x="204788" y="4356735"/>
                    <a:pt x="173355" y="4389120"/>
                  </a:cubicBezTo>
                  <a:cubicBezTo>
                    <a:pt x="165735" y="4396740"/>
                    <a:pt x="158115" y="4400550"/>
                    <a:pt x="146685" y="4400550"/>
                  </a:cubicBezTo>
                  <a:cubicBezTo>
                    <a:pt x="102870" y="4399598"/>
                    <a:pt x="58103" y="4400550"/>
                    <a:pt x="14288" y="4400550"/>
                  </a:cubicBezTo>
                  <a:cubicBezTo>
                    <a:pt x="8573" y="4401503"/>
                    <a:pt x="4763" y="4403408"/>
                    <a:pt x="0" y="4399598"/>
                  </a:cubicBezTo>
                  <a:close/>
                </a:path>
              </a:pathLst>
            </a:custGeom>
            <a:solidFill>
              <a:srgbClr val="013061"/>
            </a:solid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BCFC1C77-8951-4094-959D-12B1EBABBA9A}"/>
                </a:ext>
              </a:extLst>
            </p:cNvPr>
            <p:cNvSpPr/>
            <p:nvPr userDrawn="1"/>
          </p:nvSpPr>
          <p:spPr>
            <a:xfrm>
              <a:off x="7684873" y="453400"/>
              <a:ext cx="4505758" cy="6412391"/>
            </a:xfrm>
            <a:custGeom>
              <a:avLst/>
              <a:gdLst>
                <a:gd name="connsiteX0" fmla="*/ 0 w 3371202"/>
                <a:gd name="connsiteY0" fmla="*/ 4797743 h 4797742"/>
                <a:gd name="connsiteX1" fmla="*/ 5715 w 3371202"/>
                <a:gd name="connsiteY1" fmla="*/ 4786313 h 4797742"/>
                <a:gd name="connsiteX2" fmla="*/ 811530 w 3371202"/>
                <a:gd name="connsiteY2" fmla="*/ 3765233 h 4797742"/>
                <a:gd name="connsiteX3" fmla="*/ 1219200 w 3371202"/>
                <a:gd name="connsiteY3" fmla="*/ 3078480 h 4797742"/>
                <a:gd name="connsiteX4" fmla="*/ 1683068 w 3371202"/>
                <a:gd name="connsiteY4" fmla="*/ 2219325 h 4797742"/>
                <a:gd name="connsiteX5" fmla="*/ 2195513 w 3371202"/>
                <a:gd name="connsiteY5" fmla="*/ 1343025 h 4797742"/>
                <a:gd name="connsiteX6" fmla="*/ 2823210 w 3371202"/>
                <a:gd name="connsiteY6" fmla="*/ 513398 h 4797742"/>
                <a:gd name="connsiteX7" fmla="*/ 3359468 w 3371202"/>
                <a:gd name="connsiteY7" fmla="*/ 5715 h 4797742"/>
                <a:gd name="connsiteX8" fmla="*/ 3367088 w 3371202"/>
                <a:gd name="connsiteY8" fmla="*/ 0 h 4797742"/>
                <a:gd name="connsiteX9" fmla="*/ 3370898 w 3371202"/>
                <a:gd name="connsiteY9" fmla="*/ 11430 h 4797742"/>
                <a:gd name="connsiteX10" fmla="*/ 3370898 w 3371202"/>
                <a:gd name="connsiteY10" fmla="*/ 117158 h 4797742"/>
                <a:gd name="connsiteX11" fmla="*/ 3358515 w 3371202"/>
                <a:gd name="connsiteY11" fmla="*/ 144780 h 4797742"/>
                <a:gd name="connsiteX12" fmla="*/ 3085148 w 3371202"/>
                <a:gd name="connsiteY12" fmla="*/ 393383 h 4797742"/>
                <a:gd name="connsiteX13" fmla="*/ 2723198 w 3371202"/>
                <a:gd name="connsiteY13" fmla="*/ 793433 h 4797742"/>
                <a:gd name="connsiteX14" fmla="*/ 2179320 w 3371202"/>
                <a:gd name="connsiteY14" fmla="*/ 1567815 h 4797742"/>
                <a:gd name="connsiteX15" fmla="*/ 1689735 w 3371202"/>
                <a:gd name="connsiteY15" fmla="*/ 2429828 h 4797742"/>
                <a:gd name="connsiteX16" fmla="*/ 1235393 w 3371202"/>
                <a:gd name="connsiteY16" fmla="*/ 3266123 h 4797742"/>
                <a:gd name="connsiteX17" fmla="*/ 704850 w 3371202"/>
                <a:gd name="connsiteY17" fmla="*/ 4112895 h 4797742"/>
                <a:gd name="connsiteX18" fmla="*/ 160973 w 3371202"/>
                <a:gd name="connsiteY18" fmla="*/ 4778693 h 4797742"/>
                <a:gd name="connsiteX19" fmla="*/ 119063 w 3371202"/>
                <a:gd name="connsiteY19" fmla="*/ 4796790 h 4797742"/>
                <a:gd name="connsiteX20" fmla="*/ 0 w 3371202"/>
                <a:gd name="connsiteY20" fmla="*/ 4797743 h 479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71202" h="4797742">
                  <a:moveTo>
                    <a:pt x="0" y="4797743"/>
                  </a:moveTo>
                  <a:cubicBezTo>
                    <a:pt x="0" y="4791075"/>
                    <a:pt x="3810" y="4789170"/>
                    <a:pt x="5715" y="4786313"/>
                  </a:cubicBezTo>
                  <a:cubicBezTo>
                    <a:pt x="311468" y="4475798"/>
                    <a:pt x="575310" y="4130993"/>
                    <a:pt x="811530" y="3765233"/>
                  </a:cubicBezTo>
                  <a:cubicBezTo>
                    <a:pt x="956310" y="3541395"/>
                    <a:pt x="1090613" y="3310890"/>
                    <a:pt x="1219200" y="3078480"/>
                  </a:cubicBezTo>
                  <a:cubicBezTo>
                    <a:pt x="1377315" y="2793683"/>
                    <a:pt x="1527810" y="2505075"/>
                    <a:pt x="1683068" y="2219325"/>
                  </a:cubicBezTo>
                  <a:cubicBezTo>
                    <a:pt x="1844992" y="1922145"/>
                    <a:pt x="2011680" y="1627823"/>
                    <a:pt x="2195513" y="1343025"/>
                  </a:cubicBezTo>
                  <a:cubicBezTo>
                    <a:pt x="2384108" y="1050608"/>
                    <a:pt x="2589848" y="771525"/>
                    <a:pt x="2823210" y="513398"/>
                  </a:cubicBezTo>
                  <a:cubicBezTo>
                    <a:pt x="2988945" y="330518"/>
                    <a:pt x="3168968" y="161925"/>
                    <a:pt x="3359468" y="5715"/>
                  </a:cubicBezTo>
                  <a:cubicBezTo>
                    <a:pt x="3361373" y="3810"/>
                    <a:pt x="3364230" y="1905"/>
                    <a:pt x="3367088" y="0"/>
                  </a:cubicBezTo>
                  <a:cubicBezTo>
                    <a:pt x="3372803" y="2858"/>
                    <a:pt x="3370898" y="7620"/>
                    <a:pt x="3370898" y="11430"/>
                  </a:cubicBezTo>
                  <a:cubicBezTo>
                    <a:pt x="3370898" y="46673"/>
                    <a:pt x="3370898" y="81915"/>
                    <a:pt x="3370898" y="117158"/>
                  </a:cubicBezTo>
                  <a:cubicBezTo>
                    <a:pt x="3370898" y="128588"/>
                    <a:pt x="3368040" y="137160"/>
                    <a:pt x="3358515" y="144780"/>
                  </a:cubicBezTo>
                  <a:cubicBezTo>
                    <a:pt x="3264218" y="224790"/>
                    <a:pt x="3173730" y="306705"/>
                    <a:pt x="3085148" y="393383"/>
                  </a:cubicBezTo>
                  <a:cubicBezTo>
                    <a:pt x="2956560" y="520065"/>
                    <a:pt x="2837498" y="654368"/>
                    <a:pt x="2723198" y="793433"/>
                  </a:cubicBezTo>
                  <a:cubicBezTo>
                    <a:pt x="2523173" y="1038225"/>
                    <a:pt x="2345055" y="1298258"/>
                    <a:pt x="2179320" y="1567815"/>
                  </a:cubicBezTo>
                  <a:cubicBezTo>
                    <a:pt x="2005965" y="1849755"/>
                    <a:pt x="1845945" y="2139315"/>
                    <a:pt x="1689735" y="2429828"/>
                  </a:cubicBezTo>
                  <a:cubicBezTo>
                    <a:pt x="1539240" y="2709863"/>
                    <a:pt x="1391603" y="2989898"/>
                    <a:pt x="1235393" y="3266123"/>
                  </a:cubicBezTo>
                  <a:cubicBezTo>
                    <a:pt x="1071563" y="3556635"/>
                    <a:pt x="897255" y="3840480"/>
                    <a:pt x="704850" y="4112895"/>
                  </a:cubicBezTo>
                  <a:cubicBezTo>
                    <a:pt x="538163" y="4347210"/>
                    <a:pt x="359093" y="4570095"/>
                    <a:pt x="160973" y="4778693"/>
                  </a:cubicBezTo>
                  <a:cubicBezTo>
                    <a:pt x="148590" y="4791075"/>
                    <a:pt x="137160" y="4797743"/>
                    <a:pt x="119063" y="4796790"/>
                  </a:cubicBezTo>
                  <a:cubicBezTo>
                    <a:pt x="79058" y="4796790"/>
                    <a:pt x="40005" y="4797743"/>
                    <a:pt x="0" y="4797743"/>
                  </a:cubicBezTo>
                  <a:close/>
                </a:path>
              </a:pathLst>
            </a:custGeom>
            <a:solidFill>
              <a:srgbClr val="013061"/>
            </a:solid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D1616DEE-CFDB-4764-8A14-19D11EEAC918}"/>
                </a:ext>
              </a:extLst>
            </p:cNvPr>
            <p:cNvSpPr/>
            <p:nvPr userDrawn="1"/>
          </p:nvSpPr>
          <p:spPr>
            <a:xfrm>
              <a:off x="9388989" y="3604536"/>
              <a:ext cx="2799962" cy="3262528"/>
            </a:xfrm>
            <a:custGeom>
              <a:avLst/>
              <a:gdLst>
                <a:gd name="connsiteX0" fmla="*/ 2094928 w 2094928"/>
                <a:gd name="connsiteY0" fmla="*/ 714 h 2441019"/>
                <a:gd name="connsiteX1" fmla="*/ 2094928 w 2094928"/>
                <a:gd name="connsiteY1" fmla="*/ 15954 h 2441019"/>
                <a:gd name="connsiteX2" fmla="*/ 2094928 w 2094928"/>
                <a:gd name="connsiteY2" fmla="*/ 286464 h 2441019"/>
                <a:gd name="connsiteX3" fmla="*/ 2085403 w 2094928"/>
                <a:gd name="connsiteY3" fmla="*/ 315992 h 2441019"/>
                <a:gd name="connsiteX4" fmla="*/ 1470088 w 2094928"/>
                <a:gd name="connsiteY4" fmla="*/ 1082754 h 2441019"/>
                <a:gd name="connsiteX5" fmla="*/ 748093 w 2094928"/>
                <a:gd name="connsiteY5" fmla="*/ 1942862 h 2441019"/>
                <a:gd name="connsiteX6" fmla="*/ 288988 w 2094928"/>
                <a:gd name="connsiteY6" fmla="*/ 2428637 h 2441019"/>
                <a:gd name="connsiteX7" fmla="*/ 259461 w 2094928"/>
                <a:gd name="connsiteY7" fmla="*/ 2441020 h 2441019"/>
                <a:gd name="connsiteX8" fmla="*/ 14668 w 2094928"/>
                <a:gd name="connsiteY8" fmla="*/ 2441020 h 2441019"/>
                <a:gd name="connsiteX9" fmla="*/ 381 w 2094928"/>
                <a:gd name="connsiteY9" fmla="*/ 2441020 h 2441019"/>
                <a:gd name="connsiteX10" fmla="*/ 7048 w 2094928"/>
                <a:gd name="connsiteY10" fmla="*/ 2429590 h 2441019"/>
                <a:gd name="connsiteX11" fmla="*/ 958596 w 2094928"/>
                <a:gd name="connsiteY11" fmla="*/ 1398984 h 2441019"/>
                <a:gd name="connsiteX12" fmla="*/ 1615821 w 2094928"/>
                <a:gd name="connsiteY12" fmla="*/ 586502 h 2441019"/>
                <a:gd name="connsiteX13" fmla="*/ 2072068 w 2094928"/>
                <a:gd name="connsiteY13" fmla="*/ 24527 h 2441019"/>
                <a:gd name="connsiteX14" fmla="*/ 2092071 w 2094928"/>
                <a:gd name="connsiteY14" fmla="*/ 714 h 2441019"/>
                <a:gd name="connsiteX15" fmla="*/ 2094928 w 2094928"/>
                <a:gd name="connsiteY15" fmla="*/ 714 h 24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94928" h="2441019">
                  <a:moveTo>
                    <a:pt x="2094928" y="714"/>
                  </a:moveTo>
                  <a:cubicBezTo>
                    <a:pt x="2094928" y="5477"/>
                    <a:pt x="2094928" y="11192"/>
                    <a:pt x="2094928" y="15954"/>
                  </a:cubicBezTo>
                  <a:cubicBezTo>
                    <a:pt x="2094928" y="106442"/>
                    <a:pt x="2094928" y="196929"/>
                    <a:pt x="2094928" y="286464"/>
                  </a:cubicBezTo>
                  <a:cubicBezTo>
                    <a:pt x="2094928" y="297894"/>
                    <a:pt x="2092071" y="306467"/>
                    <a:pt x="2085403" y="315992"/>
                  </a:cubicBezTo>
                  <a:cubicBezTo>
                    <a:pt x="1877758" y="569357"/>
                    <a:pt x="1674876" y="826532"/>
                    <a:pt x="1470088" y="1082754"/>
                  </a:cubicBezTo>
                  <a:cubicBezTo>
                    <a:pt x="1235774" y="1375172"/>
                    <a:pt x="997649" y="1663779"/>
                    <a:pt x="748093" y="1942862"/>
                  </a:cubicBezTo>
                  <a:cubicBezTo>
                    <a:pt x="599503" y="2108597"/>
                    <a:pt x="446151" y="2271474"/>
                    <a:pt x="288988" y="2428637"/>
                  </a:cubicBezTo>
                  <a:cubicBezTo>
                    <a:pt x="280416" y="2437209"/>
                    <a:pt x="271843" y="2441020"/>
                    <a:pt x="259461" y="2441020"/>
                  </a:cubicBezTo>
                  <a:cubicBezTo>
                    <a:pt x="177546" y="2440067"/>
                    <a:pt x="96583" y="2441020"/>
                    <a:pt x="14668" y="2441020"/>
                  </a:cubicBezTo>
                  <a:cubicBezTo>
                    <a:pt x="9906" y="2441020"/>
                    <a:pt x="5143" y="2441020"/>
                    <a:pt x="381" y="2441020"/>
                  </a:cubicBezTo>
                  <a:cubicBezTo>
                    <a:pt x="-1524" y="2434352"/>
                    <a:pt x="4191" y="2432447"/>
                    <a:pt x="7048" y="2429590"/>
                  </a:cubicBezTo>
                  <a:cubicBezTo>
                    <a:pt x="345186" y="2105740"/>
                    <a:pt x="658558" y="1758077"/>
                    <a:pt x="958596" y="1398984"/>
                  </a:cubicBezTo>
                  <a:cubicBezTo>
                    <a:pt x="1182433" y="1131332"/>
                    <a:pt x="1398651" y="857964"/>
                    <a:pt x="1615821" y="586502"/>
                  </a:cubicBezTo>
                  <a:cubicBezTo>
                    <a:pt x="1766316" y="397907"/>
                    <a:pt x="1917763" y="210264"/>
                    <a:pt x="2072068" y="24527"/>
                  </a:cubicBezTo>
                  <a:cubicBezTo>
                    <a:pt x="2078736" y="16907"/>
                    <a:pt x="2085403" y="8334"/>
                    <a:pt x="2092071" y="714"/>
                  </a:cubicBezTo>
                  <a:cubicBezTo>
                    <a:pt x="2093024" y="-238"/>
                    <a:pt x="2093976" y="-238"/>
                    <a:pt x="2094928" y="714"/>
                  </a:cubicBezTo>
                  <a:close/>
                </a:path>
              </a:pathLst>
            </a:custGeom>
            <a:solidFill>
              <a:srgbClr val="013061"/>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93E4ED9-EEE0-4729-BDA7-5AAA716BF44F}"/>
                </a:ext>
              </a:extLst>
            </p:cNvPr>
            <p:cNvSpPr/>
            <p:nvPr userDrawn="1"/>
          </p:nvSpPr>
          <p:spPr>
            <a:xfrm>
              <a:off x="8322676" y="1753192"/>
              <a:ext cx="3867690" cy="5113431"/>
            </a:xfrm>
            <a:custGeom>
              <a:avLst/>
              <a:gdLst>
                <a:gd name="connsiteX0" fmla="*/ 2890838 w 2893800"/>
                <a:gd name="connsiteY0" fmla="*/ 0 h 3825862"/>
                <a:gd name="connsiteX1" fmla="*/ 2893695 w 2893800"/>
                <a:gd name="connsiteY1" fmla="*/ 14288 h 3825862"/>
                <a:gd name="connsiteX2" fmla="*/ 2893695 w 2893800"/>
                <a:gd name="connsiteY2" fmla="*/ 163830 h 3825862"/>
                <a:gd name="connsiteX3" fmla="*/ 2884170 w 2893800"/>
                <a:gd name="connsiteY3" fmla="*/ 189548 h 3825862"/>
                <a:gd name="connsiteX4" fmla="*/ 2091690 w 2893800"/>
                <a:gd name="connsiteY4" fmla="*/ 1199198 h 3825862"/>
                <a:gd name="connsiteX5" fmla="*/ 1555433 w 2893800"/>
                <a:gd name="connsiteY5" fmla="*/ 2002155 h 3825862"/>
                <a:gd name="connsiteX6" fmla="*/ 1035368 w 2893800"/>
                <a:gd name="connsiteY6" fmla="*/ 2769870 h 3825862"/>
                <a:gd name="connsiteX7" fmla="*/ 408623 w 2893800"/>
                <a:gd name="connsiteY7" fmla="*/ 3566160 h 3825862"/>
                <a:gd name="connsiteX8" fmla="*/ 181928 w 2893800"/>
                <a:gd name="connsiteY8" fmla="*/ 3812858 h 3825862"/>
                <a:gd name="connsiteX9" fmla="*/ 152400 w 2893800"/>
                <a:gd name="connsiteY9" fmla="*/ 3825240 h 3825862"/>
                <a:gd name="connsiteX10" fmla="*/ 14288 w 2893800"/>
                <a:gd name="connsiteY10" fmla="*/ 3825240 h 3825862"/>
                <a:gd name="connsiteX11" fmla="*/ 0 w 2893800"/>
                <a:gd name="connsiteY11" fmla="*/ 3824288 h 3825862"/>
                <a:gd name="connsiteX12" fmla="*/ 7620 w 2893800"/>
                <a:gd name="connsiteY12" fmla="*/ 3813810 h 3825862"/>
                <a:gd name="connsiteX13" fmla="*/ 834390 w 2893800"/>
                <a:gd name="connsiteY13" fmla="*/ 2837498 h 3825862"/>
                <a:gd name="connsiteX14" fmla="*/ 1360170 w 2893800"/>
                <a:gd name="connsiteY14" fmla="*/ 2075498 h 3825862"/>
                <a:gd name="connsiteX15" fmla="*/ 1908810 w 2893800"/>
                <a:gd name="connsiteY15" fmla="*/ 1248727 h 3825862"/>
                <a:gd name="connsiteX16" fmla="*/ 2476500 w 2893800"/>
                <a:gd name="connsiteY16" fmla="*/ 477203 h 3825862"/>
                <a:gd name="connsiteX17" fmla="*/ 2876550 w 2893800"/>
                <a:gd name="connsiteY17" fmla="*/ 17145 h 3825862"/>
                <a:gd name="connsiteX18" fmla="*/ 2890838 w 2893800"/>
                <a:gd name="connsiteY18" fmla="*/ 0 h 382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93800" h="3825862">
                  <a:moveTo>
                    <a:pt x="2890838" y="0"/>
                  </a:moveTo>
                  <a:cubicBezTo>
                    <a:pt x="2894648" y="5715"/>
                    <a:pt x="2893695" y="9525"/>
                    <a:pt x="2893695" y="14288"/>
                  </a:cubicBezTo>
                  <a:cubicBezTo>
                    <a:pt x="2893695" y="63817"/>
                    <a:pt x="2893695" y="114300"/>
                    <a:pt x="2893695" y="163830"/>
                  </a:cubicBezTo>
                  <a:cubicBezTo>
                    <a:pt x="2893695" y="174308"/>
                    <a:pt x="2890838" y="181928"/>
                    <a:pt x="2884170" y="189548"/>
                  </a:cubicBezTo>
                  <a:cubicBezTo>
                    <a:pt x="2595563" y="506730"/>
                    <a:pt x="2337435" y="847725"/>
                    <a:pt x="2091690" y="1199198"/>
                  </a:cubicBezTo>
                  <a:cubicBezTo>
                    <a:pt x="1907858" y="1463040"/>
                    <a:pt x="1731645" y="1732598"/>
                    <a:pt x="1555433" y="2002155"/>
                  </a:cubicBezTo>
                  <a:cubicBezTo>
                    <a:pt x="1385888" y="2260283"/>
                    <a:pt x="1214438" y="2518410"/>
                    <a:pt x="1035368" y="2769870"/>
                  </a:cubicBezTo>
                  <a:cubicBezTo>
                    <a:pt x="839153" y="3045143"/>
                    <a:pt x="632460" y="3311843"/>
                    <a:pt x="408623" y="3566160"/>
                  </a:cubicBezTo>
                  <a:cubicBezTo>
                    <a:pt x="334328" y="3649980"/>
                    <a:pt x="259080" y="3731895"/>
                    <a:pt x="181928" y="3812858"/>
                  </a:cubicBezTo>
                  <a:cubicBezTo>
                    <a:pt x="173355" y="3821430"/>
                    <a:pt x="164783" y="3826193"/>
                    <a:pt x="152400" y="3825240"/>
                  </a:cubicBezTo>
                  <a:cubicBezTo>
                    <a:pt x="106680" y="3824288"/>
                    <a:pt x="60008" y="3825240"/>
                    <a:pt x="14288" y="3825240"/>
                  </a:cubicBezTo>
                  <a:cubicBezTo>
                    <a:pt x="9525" y="3825240"/>
                    <a:pt x="4763" y="3827145"/>
                    <a:pt x="0" y="3824288"/>
                  </a:cubicBezTo>
                  <a:cubicBezTo>
                    <a:pt x="0" y="3818572"/>
                    <a:pt x="3810" y="3816668"/>
                    <a:pt x="7620" y="3813810"/>
                  </a:cubicBezTo>
                  <a:cubicBezTo>
                    <a:pt x="309563" y="3510915"/>
                    <a:pt x="581025" y="3181350"/>
                    <a:pt x="834390" y="2837498"/>
                  </a:cubicBezTo>
                  <a:cubicBezTo>
                    <a:pt x="1017270" y="2588895"/>
                    <a:pt x="1189673" y="2332673"/>
                    <a:pt x="1360170" y="2075498"/>
                  </a:cubicBezTo>
                  <a:cubicBezTo>
                    <a:pt x="1542098" y="1799273"/>
                    <a:pt x="1722120" y="1522095"/>
                    <a:pt x="1908810" y="1248727"/>
                  </a:cubicBezTo>
                  <a:cubicBezTo>
                    <a:pt x="2088833" y="984885"/>
                    <a:pt x="2276475" y="725805"/>
                    <a:pt x="2476500" y="477203"/>
                  </a:cubicBezTo>
                  <a:cubicBezTo>
                    <a:pt x="2604135" y="319088"/>
                    <a:pt x="2736533" y="164783"/>
                    <a:pt x="2876550" y="17145"/>
                  </a:cubicBezTo>
                  <a:cubicBezTo>
                    <a:pt x="2879408" y="10478"/>
                    <a:pt x="2885123" y="5715"/>
                    <a:pt x="2890838" y="0"/>
                  </a:cubicBezTo>
                  <a:close/>
                </a:path>
              </a:pathLst>
            </a:custGeom>
            <a:solidFill>
              <a:srgbClr val="013061"/>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E492B870-17D7-4881-8D3A-5C32272DA2FB}"/>
                </a:ext>
              </a:extLst>
            </p:cNvPr>
            <p:cNvSpPr/>
            <p:nvPr userDrawn="1"/>
          </p:nvSpPr>
          <p:spPr>
            <a:xfrm>
              <a:off x="8789887" y="2606141"/>
              <a:ext cx="3399470" cy="4259813"/>
            </a:xfrm>
            <a:custGeom>
              <a:avLst/>
              <a:gdLst>
                <a:gd name="connsiteX0" fmla="*/ 0 w 2543479"/>
                <a:gd name="connsiteY0" fmla="*/ 3184208 h 3187186"/>
                <a:gd name="connsiteX1" fmla="*/ 10478 w 2543479"/>
                <a:gd name="connsiteY1" fmla="*/ 3171825 h 3187186"/>
                <a:gd name="connsiteX2" fmla="*/ 903923 w 2543479"/>
                <a:gd name="connsiteY2" fmla="*/ 2152650 h 3187186"/>
                <a:gd name="connsiteX3" fmla="*/ 1514475 w 2543479"/>
                <a:gd name="connsiteY3" fmla="*/ 1329690 h 3187186"/>
                <a:gd name="connsiteX4" fmla="*/ 2121218 w 2543479"/>
                <a:gd name="connsiteY4" fmla="*/ 511492 h 3187186"/>
                <a:gd name="connsiteX5" fmla="*/ 2527935 w 2543479"/>
                <a:gd name="connsiteY5" fmla="*/ 12383 h 3187186"/>
                <a:gd name="connsiteX6" fmla="*/ 2539365 w 2543479"/>
                <a:gd name="connsiteY6" fmla="*/ 0 h 3187186"/>
                <a:gd name="connsiteX7" fmla="*/ 2543175 w 2543479"/>
                <a:gd name="connsiteY7" fmla="*/ 9525 h 3187186"/>
                <a:gd name="connsiteX8" fmla="*/ 2543175 w 2543479"/>
                <a:gd name="connsiteY8" fmla="*/ 202883 h 3187186"/>
                <a:gd name="connsiteX9" fmla="*/ 2530793 w 2543479"/>
                <a:gd name="connsiteY9" fmla="*/ 229553 h 3187186"/>
                <a:gd name="connsiteX10" fmla="*/ 2145983 w 2543479"/>
                <a:gd name="connsiteY10" fmla="*/ 712470 h 3187186"/>
                <a:gd name="connsiteX11" fmla="*/ 1593533 w 2543479"/>
                <a:gd name="connsiteY11" fmla="*/ 1463040 h 3187186"/>
                <a:gd name="connsiteX12" fmla="*/ 1013460 w 2543479"/>
                <a:gd name="connsiteY12" fmla="*/ 2243138 h 3187186"/>
                <a:gd name="connsiteX13" fmla="*/ 315278 w 2543479"/>
                <a:gd name="connsiteY13" fmla="*/ 3063240 h 3187186"/>
                <a:gd name="connsiteX14" fmla="*/ 204788 w 2543479"/>
                <a:gd name="connsiteY14" fmla="*/ 3177540 h 3187186"/>
                <a:gd name="connsiteX15" fmla="*/ 185738 w 2543479"/>
                <a:gd name="connsiteY15" fmla="*/ 3187065 h 3187186"/>
                <a:gd name="connsiteX16" fmla="*/ 3810 w 2543479"/>
                <a:gd name="connsiteY16" fmla="*/ 3187065 h 3187186"/>
                <a:gd name="connsiteX17" fmla="*/ 0 w 2543479"/>
                <a:gd name="connsiteY17" fmla="*/ 3184208 h 318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3479" h="3187186">
                  <a:moveTo>
                    <a:pt x="0" y="3184208"/>
                  </a:moveTo>
                  <a:cubicBezTo>
                    <a:pt x="953" y="3178493"/>
                    <a:pt x="6668" y="3175635"/>
                    <a:pt x="10478" y="3171825"/>
                  </a:cubicBezTo>
                  <a:cubicBezTo>
                    <a:pt x="333375" y="2853690"/>
                    <a:pt x="626745" y="2509838"/>
                    <a:pt x="903923" y="2152650"/>
                  </a:cubicBezTo>
                  <a:cubicBezTo>
                    <a:pt x="1113473" y="1883093"/>
                    <a:pt x="1314450" y="1606868"/>
                    <a:pt x="1514475" y="1329690"/>
                  </a:cubicBezTo>
                  <a:cubicBezTo>
                    <a:pt x="1713548" y="1054418"/>
                    <a:pt x="1913573" y="779145"/>
                    <a:pt x="2121218" y="511492"/>
                  </a:cubicBezTo>
                  <a:cubicBezTo>
                    <a:pt x="2252663" y="341948"/>
                    <a:pt x="2387918" y="175260"/>
                    <a:pt x="2527935" y="12383"/>
                  </a:cubicBezTo>
                  <a:cubicBezTo>
                    <a:pt x="2531745" y="8573"/>
                    <a:pt x="2535555" y="3810"/>
                    <a:pt x="2539365" y="0"/>
                  </a:cubicBezTo>
                  <a:cubicBezTo>
                    <a:pt x="2545080" y="1905"/>
                    <a:pt x="2543175" y="6667"/>
                    <a:pt x="2543175" y="9525"/>
                  </a:cubicBezTo>
                  <a:cubicBezTo>
                    <a:pt x="2543175" y="74295"/>
                    <a:pt x="2543175" y="138113"/>
                    <a:pt x="2543175" y="202883"/>
                  </a:cubicBezTo>
                  <a:cubicBezTo>
                    <a:pt x="2543175" y="214313"/>
                    <a:pt x="2537460" y="221933"/>
                    <a:pt x="2530793" y="229553"/>
                  </a:cubicBezTo>
                  <a:cubicBezTo>
                    <a:pt x="2398395" y="387667"/>
                    <a:pt x="2270760" y="548640"/>
                    <a:pt x="2145983" y="712470"/>
                  </a:cubicBezTo>
                  <a:cubicBezTo>
                    <a:pt x="1957388" y="959168"/>
                    <a:pt x="1775460" y="1211580"/>
                    <a:pt x="1593533" y="1463040"/>
                  </a:cubicBezTo>
                  <a:cubicBezTo>
                    <a:pt x="1403985" y="1724977"/>
                    <a:pt x="1212533" y="1986915"/>
                    <a:pt x="1013460" y="2243138"/>
                  </a:cubicBezTo>
                  <a:cubicBezTo>
                    <a:pt x="792480" y="2526983"/>
                    <a:pt x="561975" y="2802255"/>
                    <a:pt x="315278" y="3063240"/>
                  </a:cubicBezTo>
                  <a:cubicBezTo>
                    <a:pt x="279083" y="3101340"/>
                    <a:pt x="241935" y="3139440"/>
                    <a:pt x="204788" y="3177540"/>
                  </a:cubicBezTo>
                  <a:cubicBezTo>
                    <a:pt x="199073" y="3183255"/>
                    <a:pt x="194310" y="3188018"/>
                    <a:pt x="185738" y="3187065"/>
                  </a:cubicBezTo>
                  <a:cubicBezTo>
                    <a:pt x="124778" y="3187065"/>
                    <a:pt x="64770" y="3187065"/>
                    <a:pt x="3810" y="3187065"/>
                  </a:cubicBezTo>
                  <a:cubicBezTo>
                    <a:pt x="2858" y="3187065"/>
                    <a:pt x="953" y="3187065"/>
                    <a:pt x="0" y="3184208"/>
                  </a:cubicBezTo>
                  <a:close/>
                </a:path>
              </a:pathLst>
            </a:custGeom>
            <a:solidFill>
              <a:srgbClr val="013061"/>
            </a:solid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6AA42364-CE6C-4CDD-842F-87DF787112F3}"/>
                </a:ext>
              </a:extLst>
            </p:cNvPr>
            <p:cNvSpPr/>
            <p:nvPr userDrawn="1"/>
          </p:nvSpPr>
          <p:spPr>
            <a:xfrm>
              <a:off x="7445538" y="191"/>
              <a:ext cx="4742523" cy="6865600"/>
            </a:xfrm>
            <a:custGeom>
              <a:avLst/>
              <a:gdLst>
                <a:gd name="connsiteX0" fmla="*/ 0 w 3548349"/>
                <a:gd name="connsiteY0" fmla="*/ 5136833 h 5136832"/>
                <a:gd name="connsiteX1" fmla="*/ 9525 w 3548349"/>
                <a:gd name="connsiteY1" fmla="*/ 5122545 h 5136832"/>
                <a:gd name="connsiteX2" fmla="*/ 846773 w 3548349"/>
                <a:gd name="connsiteY2" fmla="*/ 4016693 h 5136832"/>
                <a:gd name="connsiteX3" fmla="*/ 1269683 w 3548349"/>
                <a:gd name="connsiteY3" fmla="*/ 3229928 h 5136832"/>
                <a:gd name="connsiteX4" fmla="*/ 1701165 w 3548349"/>
                <a:gd name="connsiteY4" fmla="*/ 2339340 h 5136832"/>
                <a:gd name="connsiteX5" fmla="*/ 2195513 w 3548349"/>
                <a:gd name="connsiteY5" fmla="*/ 1425893 h 5136832"/>
                <a:gd name="connsiteX6" fmla="*/ 2766060 w 3548349"/>
                <a:gd name="connsiteY6" fmla="*/ 641033 h 5136832"/>
                <a:gd name="connsiteX7" fmla="*/ 3291840 w 3548349"/>
                <a:gd name="connsiteY7" fmla="*/ 136208 h 5136832"/>
                <a:gd name="connsiteX8" fmla="*/ 3449955 w 3548349"/>
                <a:gd name="connsiteY8" fmla="*/ 9525 h 5136832"/>
                <a:gd name="connsiteX9" fmla="*/ 3477578 w 3548349"/>
                <a:gd name="connsiteY9" fmla="*/ 0 h 5136832"/>
                <a:gd name="connsiteX10" fmla="*/ 3538538 w 3548349"/>
                <a:gd name="connsiteY10" fmla="*/ 0 h 5136832"/>
                <a:gd name="connsiteX11" fmla="*/ 3548063 w 3548349"/>
                <a:gd name="connsiteY11" fmla="*/ 9525 h 5136832"/>
                <a:gd name="connsiteX12" fmla="*/ 3548063 w 3548349"/>
                <a:gd name="connsiteY12" fmla="*/ 13335 h 5136832"/>
                <a:gd name="connsiteX13" fmla="*/ 3524250 w 3548349"/>
                <a:gd name="connsiteY13" fmla="*/ 62865 h 5136832"/>
                <a:gd name="connsiteX14" fmla="*/ 3064193 w 3548349"/>
                <a:gd name="connsiteY14" fmla="*/ 454343 h 5136832"/>
                <a:gd name="connsiteX15" fmla="*/ 2606040 w 3548349"/>
                <a:gd name="connsiteY15" fmla="*/ 976313 h 5136832"/>
                <a:gd name="connsiteX16" fmla="*/ 2121218 w 3548349"/>
                <a:gd name="connsiteY16" fmla="*/ 1724025 h 5136832"/>
                <a:gd name="connsiteX17" fmla="*/ 1678305 w 3548349"/>
                <a:gd name="connsiteY17" fmla="*/ 2583180 h 5136832"/>
                <a:gd name="connsiteX18" fmla="*/ 1287780 w 3548349"/>
                <a:gd name="connsiteY18" fmla="*/ 3386138 h 5136832"/>
                <a:gd name="connsiteX19" fmla="*/ 829627 w 3548349"/>
                <a:gd name="connsiteY19" fmla="*/ 4211955 h 5136832"/>
                <a:gd name="connsiteX20" fmla="*/ 276225 w 3548349"/>
                <a:gd name="connsiteY20" fmla="*/ 4962525 h 5136832"/>
                <a:gd name="connsiteX21" fmla="*/ 128588 w 3548349"/>
                <a:gd name="connsiteY21" fmla="*/ 5125403 h 5136832"/>
                <a:gd name="connsiteX22" fmla="*/ 103823 w 3548349"/>
                <a:gd name="connsiteY22" fmla="*/ 5135880 h 5136832"/>
                <a:gd name="connsiteX23" fmla="*/ 0 w 3548349"/>
                <a:gd name="connsiteY23" fmla="*/ 5136833 h 51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8349" h="5136832">
                  <a:moveTo>
                    <a:pt x="0" y="5136833"/>
                  </a:moveTo>
                  <a:cubicBezTo>
                    <a:pt x="1905" y="5129213"/>
                    <a:pt x="5715" y="5126355"/>
                    <a:pt x="9525" y="5122545"/>
                  </a:cubicBezTo>
                  <a:cubicBezTo>
                    <a:pt x="335280" y="4789170"/>
                    <a:pt x="608648" y="4416743"/>
                    <a:pt x="846773" y="4016693"/>
                  </a:cubicBezTo>
                  <a:cubicBezTo>
                    <a:pt x="999173" y="3760470"/>
                    <a:pt x="1137285" y="3496628"/>
                    <a:pt x="1269683" y="3229928"/>
                  </a:cubicBezTo>
                  <a:cubicBezTo>
                    <a:pt x="1416368" y="2934653"/>
                    <a:pt x="1555433" y="2635568"/>
                    <a:pt x="1701165" y="2339340"/>
                  </a:cubicBezTo>
                  <a:cubicBezTo>
                    <a:pt x="1854518" y="2028825"/>
                    <a:pt x="2014537" y="1721168"/>
                    <a:pt x="2195513" y="1425893"/>
                  </a:cubicBezTo>
                  <a:cubicBezTo>
                    <a:pt x="2365058" y="1148715"/>
                    <a:pt x="2552700" y="885825"/>
                    <a:pt x="2766060" y="641033"/>
                  </a:cubicBezTo>
                  <a:cubicBezTo>
                    <a:pt x="2927033" y="457200"/>
                    <a:pt x="3103245" y="291465"/>
                    <a:pt x="3291840" y="136208"/>
                  </a:cubicBezTo>
                  <a:cubicBezTo>
                    <a:pt x="3344228" y="93345"/>
                    <a:pt x="3396615" y="51435"/>
                    <a:pt x="3449955" y="9525"/>
                  </a:cubicBezTo>
                  <a:cubicBezTo>
                    <a:pt x="3458528" y="2858"/>
                    <a:pt x="3467100" y="0"/>
                    <a:pt x="3477578" y="0"/>
                  </a:cubicBezTo>
                  <a:cubicBezTo>
                    <a:pt x="3497580" y="953"/>
                    <a:pt x="3517583" y="0"/>
                    <a:pt x="3538538" y="0"/>
                  </a:cubicBezTo>
                  <a:cubicBezTo>
                    <a:pt x="3546158" y="0"/>
                    <a:pt x="3549015" y="2858"/>
                    <a:pt x="3548063" y="9525"/>
                  </a:cubicBezTo>
                  <a:cubicBezTo>
                    <a:pt x="3548063" y="10478"/>
                    <a:pt x="3548063" y="12383"/>
                    <a:pt x="3548063" y="13335"/>
                  </a:cubicBezTo>
                  <a:cubicBezTo>
                    <a:pt x="3549015" y="43815"/>
                    <a:pt x="3549015" y="43815"/>
                    <a:pt x="3524250" y="62865"/>
                  </a:cubicBezTo>
                  <a:cubicBezTo>
                    <a:pt x="3364230" y="185738"/>
                    <a:pt x="3209925" y="315278"/>
                    <a:pt x="3064193" y="454343"/>
                  </a:cubicBezTo>
                  <a:cubicBezTo>
                    <a:pt x="2896553" y="615315"/>
                    <a:pt x="2746058" y="791528"/>
                    <a:pt x="2606040" y="976313"/>
                  </a:cubicBezTo>
                  <a:cubicBezTo>
                    <a:pt x="2426018" y="1213485"/>
                    <a:pt x="2266950" y="1464945"/>
                    <a:pt x="2121218" y="1724025"/>
                  </a:cubicBezTo>
                  <a:cubicBezTo>
                    <a:pt x="1962150" y="2005013"/>
                    <a:pt x="1818323" y="2293620"/>
                    <a:pt x="1678305" y="2583180"/>
                  </a:cubicBezTo>
                  <a:cubicBezTo>
                    <a:pt x="1548765" y="2850833"/>
                    <a:pt x="1422083" y="3120390"/>
                    <a:pt x="1287780" y="3386138"/>
                  </a:cubicBezTo>
                  <a:cubicBezTo>
                    <a:pt x="1145858" y="3667125"/>
                    <a:pt x="996315" y="3944303"/>
                    <a:pt x="829627" y="4211955"/>
                  </a:cubicBezTo>
                  <a:cubicBezTo>
                    <a:pt x="663893" y="4475798"/>
                    <a:pt x="481965" y="4728210"/>
                    <a:pt x="276225" y="4962525"/>
                  </a:cubicBezTo>
                  <a:cubicBezTo>
                    <a:pt x="227647" y="5017770"/>
                    <a:pt x="178118" y="5071110"/>
                    <a:pt x="128588" y="5125403"/>
                  </a:cubicBezTo>
                  <a:cubicBezTo>
                    <a:pt x="121920" y="5133023"/>
                    <a:pt x="114300" y="5135880"/>
                    <a:pt x="103823" y="5135880"/>
                  </a:cubicBezTo>
                  <a:cubicBezTo>
                    <a:pt x="70485" y="5136833"/>
                    <a:pt x="36195" y="5136833"/>
                    <a:pt x="0" y="5136833"/>
                  </a:cubicBezTo>
                  <a:close/>
                </a:path>
              </a:pathLst>
            </a:custGeom>
            <a:solidFill>
              <a:srgbClr val="013061"/>
            </a:solid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8F8911ED-9F81-44C2-B5CA-BE71BA22B004}"/>
                </a:ext>
              </a:extLst>
            </p:cNvPr>
            <p:cNvSpPr/>
            <p:nvPr userDrawn="1"/>
          </p:nvSpPr>
          <p:spPr>
            <a:xfrm>
              <a:off x="7254580" y="2578"/>
              <a:ext cx="4353856" cy="6863417"/>
            </a:xfrm>
            <a:custGeom>
              <a:avLst/>
              <a:gdLst>
                <a:gd name="connsiteX0" fmla="*/ 467678 w 3257549"/>
                <a:gd name="connsiteY0" fmla="*/ 4583550 h 5135199"/>
                <a:gd name="connsiteX1" fmla="*/ 502920 w 3257549"/>
                <a:gd name="connsiteY1" fmla="*/ 4536877 h 5135199"/>
                <a:gd name="connsiteX2" fmla="*/ 911543 w 3257549"/>
                <a:gd name="connsiteY2" fmla="*/ 3875842 h 5135199"/>
                <a:gd name="connsiteX3" fmla="*/ 1295400 w 3257549"/>
                <a:gd name="connsiteY3" fmla="*/ 3079552 h 5135199"/>
                <a:gd name="connsiteX4" fmla="*/ 1659255 w 3257549"/>
                <a:gd name="connsiteY4" fmla="*/ 2239447 h 5135199"/>
                <a:gd name="connsiteX5" fmla="*/ 2068830 w 3257549"/>
                <a:gd name="connsiteY5" fmla="*/ 1385055 h 5135199"/>
                <a:gd name="connsiteX6" fmla="*/ 2575560 w 3257549"/>
                <a:gd name="connsiteY6" fmla="*/ 593527 h 5135199"/>
                <a:gd name="connsiteX7" fmla="*/ 3123248 w 3257549"/>
                <a:gd name="connsiteY7" fmla="*/ 13455 h 5135199"/>
                <a:gd name="connsiteX8" fmla="*/ 3160395 w 3257549"/>
                <a:gd name="connsiteY8" fmla="*/ 120 h 5135199"/>
                <a:gd name="connsiteX9" fmla="*/ 3242310 w 3257549"/>
                <a:gd name="connsiteY9" fmla="*/ 120 h 5135199"/>
                <a:gd name="connsiteX10" fmla="*/ 3257550 w 3257549"/>
                <a:gd name="connsiteY10" fmla="*/ 120 h 5135199"/>
                <a:gd name="connsiteX11" fmla="*/ 3245168 w 3257549"/>
                <a:gd name="connsiteY11" fmla="*/ 13455 h 5135199"/>
                <a:gd name="connsiteX12" fmla="*/ 2450783 w 3257549"/>
                <a:gd name="connsiteY12" fmla="*/ 901185 h 5135199"/>
                <a:gd name="connsiteX13" fmla="*/ 2052638 w 3257549"/>
                <a:gd name="connsiteY13" fmla="*/ 1584127 h 5135199"/>
                <a:gd name="connsiteX14" fmla="*/ 1653540 w 3257549"/>
                <a:gd name="connsiteY14" fmla="*/ 2446140 h 5135199"/>
                <a:gd name="connsiteX15" fmla="*/ 1295400 w 3257549"/>
                <a:gd name="connsiteY15" fmla="*/ 3270052 h 5135199"/>
                <a:gd name="connsiteX16" fmla="*/ 968693 w 3257549"/>
                <a:gd name="connsiteY16" fmla="*/ 3933945 h 5135199"/>
                <a:gd name="connsiteX17" fmla="*/ 424815 w 3257549"/>
                <a:gd name="connsiteY17" fmla="*/ 4771192 h 5135199"/>
                <a:gd name="connsiteX18" fmla="*/ 118110 w 3257549"/>
                <a:gd name="connsiteY18" fmla="*/ 5124570 h 5135199"/>
                <a:gd name="connsiteX19" fmla="*/ 95250 w 3257549"/>
                <a:gd name="connsiteY19" fmla="*/ 5135047 h 5135199"/>
                <a:gd name="connsiteX20" fmla="*/ 13335 w 3257549"/>
                <a:gd name="connsiteY20" fmla="*/ 5135047 h 5135199"/>
                <a:gd name="connsiteX21" fmla="*/ 0 w 3257549"/>
                <a:gd name="connsiteY21" fmla="*/ 5133142 h 5135199"/>
                <a:gd name="connsiteX22" fmla="*/ 20003 w 3257549"/>
                <a:gd name="connsiteY22" fmla="*/ 5103615 h 5135199"/>
                <a:gd name="connsiteX23" fmla="*/ 172403 w 3257549"/>
                <a:gd name="connsiteY23" fmla="*/ 4938832 h 5135199"/>
                <a:gd name="connsiteX24" fmla="*/ 361950 w 3257549"/>
                <a:gd name="connsiteY24" fmla="*/ 4713090 h 5135199"/>
                <a:gd name="connsiteX25" fmla="*/ 448628 w 3257549"/>
                <a:gd name="connsiteY25" fmla="*/ 4597837 h 5135199"/>
                <a:gd name="connsiteX26" fmla="*/ 467678 w 3257549"/>
                <a:gd name="connsiteY26" fmla="*/ 4583550 h 513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57549" h="5135199">
                  <a:moveTo>
                    <a:pt x="467678" y="4583550"/>
                  </a:moveTo>
                  <a:cubicBezTo>
                    <a:pt x="481013" y="4569262"/>
                    <a:pt x="491490" y="4553070"/>
                    <a:pt x="502920" y="4536877"/>
                  </a:cubicBezTo>
                  <a:cubicBezTo>
                    <a:pt x="654368" y="4325422"/>
                    <a:pt x="788670" y="4104442"/>
                    <a:pt x="911543" y="3875842"/>
                  </a:cubicBezTo>
                  <a:cubicBezTo>
                    <a:pt x="1051560" y="3616762"/>
                    <a:pt x="1176338" y="3349110"/>
                    <a:pt x="1295400" y="3079552"/>
                  </a:cubicBezTo>
                  <a:cubicBezTo>
                    <a:pt x="1419225" y="2800470"/>
                    <a:pt x="1536383" y="2518530"/>
                    <a:pt x="1659255" y="2239447"/>
                  </a:cubicBezTo>
                  <a:cubicBezTo>
                    <a:pt x="1785938" y="1949887"/>
                    <a:pt x="1919288" y="1663185"/>
                    <a:pt x="2068830" y="1385055"/>
                  </a:cubicBezTo>
                  <a:cubicBezTo>
                    <a:pt x="2217420" y="1107877"/>
                    <a:pt x="2383155" y="842130"/>
                    <a:pt x="2575560" y="593527"/>
                  </a:cubicBezTo>
                  <a:cubicBezTo>
                    <a:pt x="2739390" y="382072"/>
                    <a:pt x="2920365" y="187762"/>
                    <a:pt x="3123248" y="13455"/>
                  </a:cubicBezTo>
                  <a:cubicBezTo>
                    <a:pt x="3134678" y="3930"/>
                    <a:pt x="3145155" y="-833"/>
                    <a:pt x="3160395" y="120"/>
                  </a:cubicBezTo>
                  <a:cubicBezTo>
                    <a:pt x="3187065" y="1072"/>
                    <a:pt x="3214688" y="120"/>
                    <a:pt x="3242310" y="120"/>
                  </a:cubicBezTo>
                  <a:cubicBezTo>
                    <a:pt x="3247073" y="120"/>
                    <a:pt x="3251835" y="120"/>
                    <a:pt x="3257550" y="120"/>
                  </a:cubicBezTo>
                  <a:cubicBezTo>
                    <a:pt x="3254693" y="7740"/>
                    <a:pt x="3249930" y="10597"/>
                    <a:pt x="3245168" y="13455"/>
                  </a:cubicBezTo>
                  <a:cubicBezTo>
                    <a:pt x="2934653" y="268725"/>
                    <a:pt x="2674620" y="568762"/>
                    <a:pt x="2450783" y="901185"/>
                  </a:cubicBezTo>
                  <a:cubicBezTo>
                    <a:pt x="2303145" y="1120260"/>
                    <a:pt x="2172653" y="1349812"/>
                    <a:pt x="2052638" y="1584127"/>
                  </a:cubicBezTo>
                  <a:cubicBezTo>
                    <a:pt x="1908810" y="1866067"/>
                    <a:pt x="1779270" y="2155627"/>
                    <a:pt x="1653540" y="2446140"/>
                  </a:cubicBezTo>
                  <a:cubicBezTo>
                    <a:pt x="1534478" y="2721412"/>
                    <a:pt x="1418273" y="2997637"/>
                    <a:pt x="1295400" y="3270052"/>
                  </a:cubicBezTo>
                  <a:cubicBezTo>
                    <a:pt x="1193483" y="3494842"/>
                    <a:pt x="1086803" y="3716775"/>
                    <a:pt x="968693" y="3933945"/>
                  </a:cubicBezTo>
                  <a:cubicBezTo>
                    <a:pt x="809625" y="4227315"/>
                    <a:pt x="632460" y="4509255"/>
                    <a:pt x="424815" y="4771192"/>
                  </a:cubicBezTo>
                  <a:cubicBezTo>
                    <a:pt x="327660" y="4894065"/>
                    <a:pt x="224790" y="5010270"/>
                    <a:pt x="118110" y="5124570"/>
                  </a:cubicBezTo>
                  <a:cubicBezTo>
                    <a:pt x="111443" y="5131238"/>
                    <a:pt x="105728" y="5135047"/>
                    <a:pt x="95250" y="5135047"/>
                  </a:cubicBezTo>
                  <a:cubicBezTo>
                    <a:pt x="67628" y="5134095"/>
                    <a:pt x="40957" y="5135047"/>
                    <a:pt x="13335" y="5135047"/>
                  </a:cubicBezTo>
                  <a:cubicBezTo>
                    <a:pt x="8573" y="5135047"/>
                    <a:pt x="4763" y="5136000"/>
                    <a:pt x="0" y="5133142"/>
                  </a:cubicBezTo>
                  <a:cubicBezTo>
                    <a:pt x="2857" y="5120760"/>
                    <a:pt x="11430" y="5112188"/>
                    <a:pt x="20003" y="5103615"/>
                  </a:cubicBezTo>
                  <a:cubicBezTo>
                    <a:pt x="73343" y="5050275"/>
                    <a:pt x="122873" y="4994077"/>
                    <a:pt x="172403" y="4938832"/>
                  </a:cubicBezTo>
                  <a:cubicBezTo>
                    <a:pt x="238125" y="4865490"/>
                    <a:pt x="301943" y="4790242"/>
                    <a:pt x="361950" y="4713090"/>
                  </a:cubicBezTo>
                  <a:cubicBezTo>
                    <a:pt x="391478" y="4674990"/>
                    <a:pt x="420053" y="4636890"/>
                    <a:pt x="448628" y="4597837"/>
                  </a:cubicBezTo>
                  <a:cubicBezTo>
                    <a:pt x="455295" y="4593075"/>
                    <a:pt x="459105" y="4585455"/>
                    <a:pt x="467678" y="4583550"/>
                  </a:cubicBezTo>
                  <a:close/>
                </a:path>
              </a:pathLst>
            </a:custGeom>
            <a:solidFill>
              <a:srgbClr val="013061"/>
            </a:solid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8687E9-179C-4F0C-A598-7256A7D26288}"/>
                </a:ext>
              </a:extLst>
            </p:cNvPr>
            <p:cNvSpPr/>
            <p:nvPr userDrawn="1"/>
          </p:nvSpPr>
          <p:spPr>
            <a:xfrm>
              <a:off x="7162921" y="0"/>
              <a:ext cx="3959209" cy="6863246"/>
            </a:xfrm>
            <a:custGeom>
              <a:avLst/>
              <a:gdLst>
                <a:gd name="connsiteX0" fmla="*/ 536258 w 2962275"/>
                <a:gd name="connsiteY0" fmla="*/ 4585479 h 5135071"/>
                <a:gd name="connsiteX1" fmla="*/ 206692 w 2962275"/>
                <a:gd name="connsiteY1" fmla="*/ 4989339 h 5135071"/>
                <a:gd name="connsiteX2" fmla="*/ 70485 w 2962275"/>
                <a:gd name="connsiteY2" fmla="*/ 5135071 h 5135071"/>
                <a:gd name="connsiteX3" fmla="*/ 0 w 2962275"/>
                <a:gd name="connsiteY3" fmla="*/ 5135071 h 5135071"/>
                <a:gd name="connsiteX4" fmla="*/ 10478 w 2962275"/>
                <a:gd name="connsiteY4" fmla="*/ 5119832 h 5135071"/>
                <a:gd name="connsiteX5" fmla="*/ 485775 w 2962275"/>
                <a:gd name="connsiteY5" fmla="*/ 4511184 h 5135071"/>
                <a:gd name="connsiteX6" fmla="*/ 837248 w 2962275"/>
                <a:gd name="connsiteY6" fmla="*/ 3890154 h 5135071"/>
                <a:gd name="connsiteX7" fmla="*/ 1181100 w 2962275"/>
                <a:gd name="connsiteY7" fmla="*/ 3103389 h 5135071"/>
                <a:gd name="connsiteX8" fmla="*/ 1529715 w 2962275"/>
                <a:gd name="connsiteY8" fmla="*/ 2197561 h 5135071"/>
                <a:gd name="connsiteX9" fmla="*/ 1886903 w 2962275"/>
                <a:gd name="connsiteY9" fmla="*/ 1366981 h 5135071"/>
                <a:gd name="connsiteX10" fmla="*/ 2315528 w 2962275"/>
                <a:gd name="connsiteY10" fmla="*/ 621174 h 5135071"/>
                <a:gd name="connsiteX11" fmla="*/ 2755583 w 2962275"/>
                <a:gd name="connsiteY11" fmla="*/ 88726 h 5135071"/>
                <a:gd name="connsiteX12" fmla="*/ 2835593 w 2962275"/>
                <a:gd name="connsiteY12" fmla="*/ 10621 h 5135071"/>
                <a:gd name="connsiteX13" fmla="*/ 2862263 w 2962275"/>
                <a:gd name="connsiteY13" fmla="*/ 144 h 5135071"/>
                <a:gd name="connsiteX14" fmla="*/ 2962275 w 2962275"/>
                <a:gd name="connsiteY14" fmla="*/ 144 h 5135071"/>
                <a:gd name="connsiteX15" fmla="*/ 2947988 w 2962275"/>
                <a:gd name="connsiteY15" fmla="*/ 17289 h 5135071"/>
                <a:gd name="connsiteX16" fmla="*/ 2589848 w 2962275"/>
                <a:gd name="connsiteY16" fmla="*/ 390669 h 5135071"/>
                <a:gd name="connsiteX17" fmla="*/ 2206943 w 2962275"/>
                <a:gd name="connsiteY17" fmla="*/ 938356 h 5135071"/>
                <a:gd name="connsiteX18" fmla="*/ 1844993 w 2962275"/>
                <a:gd name="connsiteY18" fmla="*/ 1644159 h 5135071"/>
                <a:gd name="connsiteX19" fmla="*/ 1482090 w 2962275"/>
                <a:gd name="connsiteY19" fmla="*/ 2540462 h 5135071"/>
                <a:gd name="connsiteX20" fmla="*/ 1219200 w 2962275"/>
                <a:gd name="connsiteY20" fmla="*/ 3221499 h 5135071"/>
                <a:gd name="connsiteX21" fmla="*/ 852488 w 2962275"/>
                <a:gd name="connsiteY21" fmla="*/ 4037791 h 5135071"/>
                <a:gd name="connsiteX22" fmla="*/ 547688 w 2962275"/>
                <a:gd name="connsiteY22" fmla="*/ 4565476 h 5135071"/>
                <a:gd name="connsiteX23" fmla="*/ 536258 w 2962275"/>
                <a:gd name="connsiteY23" fmla="*/ 4585479 h 513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62275" h="5135071">
                  <a:moveTo>
                    <a:pt x="536258" y="4585479"/>
                  </a:moveTo>
                  <a:cubicBezTo>
                    <a:pt x="435293" y="4727401"/>
                    <a:pt x="322898" y="4860751"/>
                    <a:pt x="206692" y="4989339"/>
                  </a:cubicBezTo>
                  <a:cubicBezTo>
                    <a:pt x="161925" y="5038869"/>
                    <a:pt x="116205" y="5086494"/>
                    <a:pt x="70485" y="5135071"/>
                  </a:cubicBezTo>
                  <a:cubicBezTo>
                    <a:pt x="47625" y="5135071"/>
                    <a:pt x="23813" y="5135071"/>
                    <a:pt x="0" y="5135071"/>
                  </a:cubicBezTo>
                  <a:cubicBezTo>
                    <a:pt x="0" y="5127451"/>
                    <a:pt x="6667" y="5123642"/>
                    <a:pt x="10478" y="5119832"/>
                  </a:cubicBezTo>
                  <a:cubicBezTo>
                    <a:pt x="184785" y="4929332"/>
                    <a:pt x="344805" y="4728354"/>
                    <a:pt x="485775" y="4511184"/>
                  </a:cubicBezTo>
                  <a:cubicBezTo>
                    <a:pt x="616268" y="4311159"/>
                    <a:pt x="731520" y="4103514"/>
                    <a:pt x="837248" y="3890154"/>
                  </a:cubicBezTo>
                  <a:cubicBezTo>
                    <a:pt x="963930" y="3632979"/>
                    <a:pt x="1075373" y="3369137"/>
                    <a:pt x="1181100" y="3103389"/>
                  </a:cubicBezTo>
                  <a:cubicBezTo>
                    <a:pt x="1300163" y="2802399"/>
                    <a:pt x="1412558" y="2498551"/>
                    <a:pt x="1529715" y="2197561"/>
                  </a:cubicBezTo>
                  <a:cubicBezTo>
                    <a:pt x="1639253" y="1916574"/>
                    <a:pt x="1754505" y="1638444"/>
                    <a:pt x="1886903" y="1366981"/>
                  </a:cubicBezTo>
                  <a:cubicBezTo>
                    <a:pt x="2012633" y="1107901"/>
                    <a:pt x="2151698" y="857394"/>
                    <a:pt x="2315528" y="621174"/>
                  </a:cubicBezTo>
                  <a:cubicBezTo>
                    <a:pt x="2446973" y="431626"/>
                    <a:pt x="2590800" y="251604"/>
                    <a:pt x="2755583" y="88726"/>
                  </a:cubicBezTo>
                  <a:cubicBezTo>
                    <a:pt x="2782253" y="63009"/>
                    <a:pt x="2809875" y="37291"/>
                    <a:pt x="2835593" y="10621"/>
                  </a:cubicBezTo>
                  <a:cubicBezTo>
                    <a:pt x="2843213" y="3001"/>
                    <a:pt x="2850833" y="-809"/>
                    <a:pt x="2862263" y="144"/>
                  </a:cubicBezTo>
                  <a:cubicBezTo>
                    <a:pt x="2894648" y="1096"/>
                    <a:pt x="2927985" y="144"/>
                    <a:pt x="2962275" y="144"/>
                  </a:cubicBezTo>
                  <a:cubicBezTo>
                    <a:pt x="2959418" y="8716"/>
                    <a:pt x="2952750" y="12526"/>
                    <a:pt x="2947988" y="17289"/>
                  </a:cubicBezTo>
                  <a:cubicBezTo>
                    <a:pt x="2819400" y="133494"/>
                    <a:pt x="2699385" y="257319"/>
                    <a:pt x="2589848" y="390669"/>
                  </a:cubicBezTo>
                  <a:cubicBezTo>
                    <a:pt x="2447925" y="563071"/>
                    <a:pt x="2321243" y="745951"/>
                    <a:pt x="2206943" y="938356"/>
                  </a:cubicBezTo>
                  <a:cubicBezTo>
                    <a:pt x="2070735" y="1166004"/>
                    <a:pt x="1953578" y="1402224"/>
                    <a:pt x="1844993" y="1644159"/>
                  </a:cubicBezTo>
                  <a:cubicBezTo>
                    <a:pt x="1713548" y="1938481"/>
                    <a:pt x="1596390" y="2238519"/>
                    <a:pt x="1482090" y="2540462"/>
                  </a:cubicBezTo>
                  <a:cubicBezTo>
                    <a:pt x="1395413" y="2768109"/>
                    <a:pt x="1309688" y="2995756"/>
                    <a:pt x="1219200" y="3221499"/>
                  </a:cubicBezTo>
                  <a:cubicBezTo>
                    <a:pt x="1107758" y="3498676"/>
                    <a:pt x="989648" y="3772044"/>
                    <a:pt x="852488" y="4037791"/>
                  </a:cubicBezTo>
                  <a:cubicBezTo>
                    <a:pt x="760095" y="4218767"/>
                    <a:pt x="659130" y="4394979"/>
                    <a:pt x="547688" y="4565476"/>
                  </a:cubicBezTo>
                  <a:cubicBezTo>
                    <a:pt x="542925" y="4571192"/>
                    <a:pt x="538163" y="4577859"/>
                    <a:pt x="536258" y="4585479"/>
                  </a:cubicBezTo>
                  <a:close/>
                </a:path>
              </a:pathLst>
            </a:custGeom>
            <a:solidFill>
              <a:srgbClr val="B2B2B2"/>
            </a:solid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EC228EA3-2787-4800-B76D-6842472F0588}"/>
                </a:ext>
              </a:extLst>
            </p:cNvPr>
            <p:cNvSpPr/>
            <p:nvPr userDrawn="1"/>
          </p:nvSpPr>
          <p:spPr>
            <a:xfrm>
              <a:off x="6994876" y="1465"/>
              <a:ext cx="3539099" cy="6864326"/>
            </a:xfrm>
            <a:custGeom>
              <a:avLst/>
              <a:gdLst>
                <a:gd name="connsiteX0" fmla="*/ 2647950 w 2647949"/>
                <a:gd name="connsiteY0" fmla="*/ 0 h 5135879"/>
                <a:gd name="connsiteX1" fmla="*/ 2611755 w 2647949"/>
                <a:gd name="connsiteY1" fmla="*/ 37148 h 5135879"/>
                <a:gd name="connsiteX2" fmla="*/ 2222183 w 2647949"/>
                <a:gd name="connsiteY2" fmla="*/ 529590 h 5135879"/>
                <a:gd name="connsiteX3" fmla="*/ 1954530 w 2647949"/>
                <a:gd name="connsiteY3" fmla="*/ 991553 h 5135879"/>
                <a:gd name="connsiteX4" fmla="*/ 1614488 w 2647949"/>
                <a:gd name="connsiteY4" fmla="*/ 1777365 h 5135879"/>
                <a:gd name="connsiteX5" fmla="*/ 1348740 w 2647949"/>
                <a:gd name="connsiteY5" fmla="*/ 2538413 h 5135879"/>
                <a:gd name="connsiteX6" fmla="*/ 1060133 w 2647949"/>
                <a:gd name="connsiteY6" fmla="*/ 3368993 h 5135879"/>
                <a:gd name="connsiteX7" fmla="*/ 703898 w 2647949"/>
                <a:gd name="connsiteY7" fmla="*/ 4191953 h 5135879"/>
                <a:gd name="connsiteX8" fmla="*/ 247650 w 2647949"/>
                <a:gd name="connsiteY8" fmla="*/ 4919663 h 5135879"/>
                <a:gd name="connsiteX9" fmla="*/ 81915 w 2647949"/>
                <a:gd name="connsiteY9" fmla="*/ 5123498 h 5135879"/>
                <a:gd name="connsiteX10" fmla="*/ 56197 w 2647949"/>
                <a:gd name="connsiteY10" fmla="*/ 5135880 h 5135879"/>
                <a:gd name="connsiteX11" fmla="*/ 0 w 2647949"/>
                <a:gd name="connsiteY11" fmla="*/ 5135880 h 5135879"/>
                <a:gd name="connsiteX12" fmla="*/ 12383 w 2647949"/>
                <a:gd name="connsiteY12" fmla="*/ 5116830 h 5135879"/>
                <a:gd name="connsiteX13" fmla="*/ 242888 w 2647949"/>
                <a:gd name="connsiteY13" fmla="*/ 4833938 h 5135879"/>
                <a:gd name="connsiteX14" fmla="*/ 574358 w 2647949"/>
                <a:gd name="connsiteY14" fmla="*/ 4318635 h 5135879"/>
                <a:gd name="connsiteX15" fmla="*/ 983933 w 2647949"/>
                <a:gd name="connsiteY15" fmla="*/ 3418523 h 5135879"/>
                <a:gd name="connsiteX16" fmla="*/ 1268730 w 2647949"/>
                <a:gd name="connsiteY16" fmla="*/ 2609850 h 5135879"/>
                <a:gd name="connsiteX17" fmla="*/ 1552575 w 2647949"/>
                <a:gd name="connsiteY17" fmla="*/ 1789748 h 5135879"/>
                <a:gd name="connsiteX18" fmla="*/ 1852613 w 2647949"/>
                <a:gd name="connsiteY18" fmla="*/ 1074420 h 5135879"/>
                <a:gd name="connsiteX19" fmla="*/ 2178368 w 2647949"/>
                <a:gd name="connsiteY19" fmla="*/ 496253 h 5135879"/>
                <a:gd name="connsiteX20" fmla="*/ 2552700 w 2647949"/>
                <a:gd name="connsiteY20" fmla="*/ 18098 h 5135879"/>
                <a:gd name="connsiteX21" fmla="*/ 2589848 w 2647949"/>
                <a:gd name="connsiteY21" fmla="*/ 1905 h 5135879"/>
                <a:gd name="connsiteX22" fmla="*/ 2647950 w 2647949"/>
                <a:gd name="connsiteY22" fmla="*/ 0 h 513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7949" h="5135879">
                  <a:moveTo>
                    <a:pt x="2647950" y="0"/>
                  </a:moveTo>
                  <a:cubicBezTo>
                    <a:pt x="2633663" y="14288"/>
                    <a:pt x="2623185" y="25718"/>
                    <a:pt x="2611755" y="37148"/>
                  </a:cubicBezTo>
                  <a:cubicBezTo>
                    <a:pt x="2466023" y="188595"/>
                    <a:pt x="2338388" y="354330"/>
                    <a:pt x="2222183" y="529590"/>
                  </a:cubicBezTo>
                  <a:cubicBezTo>
                    <a:pt x="2124075" y="678180"/>
                    <a:pt x="2035493" y="832485"/>
                    <a:pt x="1954530" y="991553"/>
                  </a:cubicBezTo>
                  <a:cubicBezTo>
                    <a:pt x="1824038" y="1246823"/>
                    <a:pt x="1714500" y="1509713"/>
                    <a:pt x="1614488" y="1777365"/>
                  </a:cubicBezTo>
                  <a:cubicBezTo>
                    <a:pt x="1520190" y="2028825"/>
                    <a:pt x="1434465" y="2283143"/>
                    <a:pt x="1348740" y="2538413"/>
                  </a:cubicBezTo>
                  <a:cubicBezTo>
                    <a:pt x="1255395" y="2816543"/>
                    <a:pt x="1163003" y="3094673"/>
                    <a:pt x="1060133" y="3368993"/>
                  </a:cubicBezTo>
                  <a:cubicBezTo>
                    <a:pt x="955358" y="3649028"/>
                    <a:pt x="840105" y="3925253"/>
                    <a:pt x="703898" y="4191953"/>
                  </a:cubicBezTo>
                  <a:cubicBezTo>
                    <a:pt x="573405" y="4447223"/>
                    <a:pt x="423863" y="4692015"/>
                    <a:pt x="247650" y="4919663"/>
                  </a:cubicBezTo>
                  <a:cubicBezTo>
                    <a:pt x="195263" y="4988243"/>
                    <a:pt x="139065" y="5055870"/>
                    <a:pt x="81915" y="5123498"/>
                  </a:cubicBezTo>
                  <a:cubicBezTo>
                    <a:pt x="75248" y="5132070"/>
                    <a:pt x="67628" y="5135880"/>
                    <a:pt x="56197" y="5135880"/>
                  </a:cubicBezTo>
                  <a:cubicBezTo>
                    <a:pt x="38100" y="5134928"/>
                    <a:pt x="20003" y="5135880"/>
                    <a:pt x="0" y="5135880"/>
                  </a:cubicBezTo>
                  <a:cubicBezTo>
                    <a:pt x="953" y="5126355"/>
                    <a:pt x="7620" y="5122545"/>
                    <a:pt x="12383" y="5116830"/>
                  </a:cubicBezTo>
                  <a:cubicBezTo>
                    <a:pt x="92393" y="5025390"/>
                    <a:pt x="170498" y="4931093"/>
                    <a:pt x="242888" y="4833938"/>
                  </a:cubicBezTo>
                  <a:cubicBezTo>
                    <a:pt x="365760" y="4670108"/>
                    <a:pt x="475298" y="4497705"/>
                    <a:pt x="574358" y="4318635"/>
                  </a:cubicBezTo>
                  <a:cubicBezTo>
                    <a:pt x="734378" y="4029075"/>
                    <a:pt x="865823" y="3727133"/>
                    <a:pt x="983933" y="3418523"/>
                  </a:cubicBezTo>
                  <a:cubicBezTo>
                    <a:pt x="1085850" y="3151823"/>
                    <a:pt x="1177290" y="2881313"/>
                    <a:pt x="1268730" y="2609850"/>
                  </a:cubicBezTo>
                  <a:cubicBezTo>
                    <a:pt x="1361123" y="2335530"/>
                    <a:pt x="1452563" y="2060258"/>
                    <a:pt x="1552575" y="1789748"/>
                  </a:cubicBezTo>
                  <a:cubicBezTo>
                    <a:pt x="1643063" y="1546860"/>
                    <a:pt x="1740218" y="1307783"/>
                    <a:pt x="1852613" y="1074420"/>
                  </a:cubicBezTo>
                  <a:cubicBezTo>
                    <a:pt x="1948815" y="874395"/>
                    <a:pt x="2055495" y="681038"/>
                    <a:pt x="2178368" y="496253"/>
                  </a:cubicBezTo>
                  <a:cubicBezTo>
                    <a:pt x="2290763" y="326708"/>
                    <a:pt x="2413635" y="165735"/>
                    <a:pt x="2552700" y="18098"/>
                  </a:cubicBezTo>
                  <a:cubicBezTo>
                    <a:pt x="2563178" y="6668"/>
                    <a:pt x="2573655" y="0"/>
                    <a:pt x="2589848" y="1905"/>
                  </a:cubicBezTo>
                  <a:cubicBezTo>
                    <a:pt x="2607945" y="953"/>
                    <a:pt x="2626043" y="0"/>
                    <a:pt x="2647950" y="0"/>
                  </a:cubicBezTo>
                  <a:close/>
                </a:path>
              </a:pathLst>
            </a:custGeom>
            <a:solidFill>
              <a:srgbClr val="B2B2B2"/>
            </a:solid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2C99CA0B-00C3-41E7-81BA-E3D6F238008C}"/>
                </a:ext>
              </a:extLst>
            </p:cNvPr>
            <p:cNvSpPr/>
            <p:nvPr userDrawn="1"/>
          </p:nvSpPr>
          <p:spPr>
            <a:xfrm>
              <a:off x="6848475" y="1465"/>
              <a:ext cx="3173732" cy="6864755"/>
            </a:xfrm>
            <a:custGeom>
              <a:avLst/>
              <a:gdLst>
                <a:gd name="connsiteX0" fmla="*/ 2374583 w 2374582"/>
                <a:gd name="connsiteY0" fmla="*/ 0 h 5136200"/>
                <a:gd name="connsiteX1" fmla="*/ 2366963 w 2374582"/>
                <a:gd name="connsiteY1" fmla="*/ 12383 h 5136200"/>
                <a:gd name="connsiteX2" fmla="*/ 2007870 w 2374582"/>
                <a:gd name="connsiteY2" fmla="*/ 520065 h 5136200"/>
                <a:gd name="connsiteX3" fmla="*/ 1644968 w 2374582"/>
                <a:gd name="connsiteY3" fmla="*/ 1281113 h 5136200"/>
                <a:gd name="connsiteX4" fmla="*/ 1375410 w 2374582"/>
                <a:gd name="connsiteY4" fmla="*/ 2072640 h 5136200"/>
                <a:gd name="connsiteX5" fmla="*/ 1239203 w 2374582"/>
                <a:gd name="connsiteY5" fmla="*/ 2531745 h 5136200"/>
                <a:gd name="connsiteX6" fmla="*/ 942975 w 2374582"/>
                <a:gd name="connsiteY6" fmla="*/ 3485198 h 5136200"/>
                <a:gd name="connsiteX7" fmla="*/ 667703 w 2374582"/>
                <a:gd name="connsiteY7" fmla="*/ 4173855 h 5136200"/>
                <a:gd name="connsiteX8" fmla="*/ 79058 w 2374582"/>
                <a:gd name="connsiteY8" fmla="*/ 5117783 h 5136200"/>
                <a:gd name="connsiteX9" fmla="*/ 39053 w 2374582"/>
                <a:gd name="connsiteY9" fmla="*/ 5135880 h 5136200"/>
                <a:gd name="connsiteX10" fmla="*/ 0 w 2374582"/>
                <a:gd name="connsiteY10" fmla="*/ 5135880 h 5136200"/>
                <a:gd name="connsiteX11" fmla="*/ 11430 w 2374582"/>
                <a:gd name="connsiteY11" fmla="*/ 5117783 h 5136200"/>
                <a:gd name="connsiteX12" fmla="*/ 359093 w 2374582"/>
                <a:gd name="connsiteY12" fmla="*/ 4640580 h 5136200"/>
                <a:gd name="connsiteX13" fmla="*/ 641033 w 2374582"/>
                <a:gd name="connsiteY13" fmla="*/ 4110990 h 5136200"/>
                <a:gd name="connsiteX14" fmla="*/ 1016318 w 2374582"/>
                <a:gd name="connsiteY14" fmla="*/ 3103245 h 5136200"/>
                <a:gd name="connsiteX15" fmla="*/ 1251585 w 2374582"/>
                <a:gd name="connsiteY15" fmla="*/ 2314575 h 5136200"/>
                <a:gd name="connsiteX16" fmla="*/ 1498283 w 2374582"/>
                <a:gd name="connsiteY16" fmla="*/ 1533525 h 5136200"/>
                <a:gd name="connsiteX17" fmla="*/ 1742123 w 2374582"/>
                <a:gd name="connsiteY17" fmla="*/ 922020 h 5136200"/>
                <a:gd name="connsiteX18" fmla="*/ 2228850 w 2374582"/>
                <a:gd name="connsiteY18" fmla="*/ 99060 h 5136200"/>
                <a:gd name="connsiteX19" fmla="*/ 2300288 w 2374582"/>
                <a:gd name="connsiteY19" fmla="*/ 10478 h 5136200"/>
                <a:gd name="connsiteX20" fmla="*/ 2323148 w 2374582"/>
                <a:gd name="connsiteY20" fmla="*/ 0 h 5136200"/>
                <a:gd name="connsiteX21" fmla="*/ 2374583 w 2374582"/>
                <a:gd name="connsiteY21" fmla="*/ 0 h 513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74582" h="5136200">
                  <a:moveTo>
                    <a:pt x="2374583" y="0"/>
                  </a:moveTo>
                  <a:cubicBezTo>
                    <a:pt x="2373630" y="6668"/>
                    <a:pt x="2369820" y="9525"/>
                    <a:pt x="2366963" y="12383"/>
                  </a:cubicBezTo>
                  <a:cubicBezTo>
                    <a:pt x="2230755" y="170498"/>
                    <a:pt x="2113598" y="340995"/>
                    <a:pt x="2007870" y="520065"/>
                  </a:cubicBezTo>
                  <a:cubicBezTo>
                    <a:pt x="1864995" y="762953"/>
                    <a:pt x="1747838" y="1019175"/>
                    <a:pt x="1644968" y="1281113"/>
                  </a:cubicBezTo>
                  <a:cubicBezTo>
                    <a:pt x="1543050" y="1541145"/>
                    <a:pt x="1456373" y="1805940"/>
                    <a:pt x="1375410" y="2072640"/>
                  </a:cubicBezTo>
                  <a:cubicBezTo>
                    <a:pt x="1328738" y="2225040"/>
                    <a:pt x="1283970" y="2378393"/>
                    <a:pt x="1239203" y="2531745"/>
                  </a:cubicBezTo>
                  <a:cubicBezTo>
                    <a:pt x="1145858" y="2850833"/>
                    <a:pt x="1052513" y="3170873"/>
                    <a:pt x="942975" y="3485198"/>
                  </a:cubicBezTo>
                  <a:cubicBezTo>
                    <a:pt x="862013" y="3718560"/>
                    <a:pt x="772478" y="3949065"/>
                    <a:pt x="667703" y="4173855"/>
                  </a:cubicBezTo>
                  <a:cubicBezTo>
                    <a:pt x="510540" y="4512945"/>
                    <a:pt x="319088" y="4830128"/>
                    <a:pt x="79058" y="5117783"/>
                  </a:cubicBezTo>
                  <a:cubicBezTo>
                    <a:pt x="67628" y="5131118"/>
                    <a:pt x="56198" y="5137785"/>
                    <a:pt x="39053" y="5135880"/>
                  </a:cubicBezTo>
                  <a:cubicBezTo>
                    <a:pt x="26670" y="5134928"/>
                    <a:pt x="14288" y="5135880"/>
                    <a:pt x="0" y="5135880"/>
                  </a:cubicBezTo>
                  <a:cubicBezTo>
                    <a:pt x="1905" y="5126355"/>
                    <a:pt x="7620" y="5122545"/>
                    <a:pt x="11430" y="5117783"/>
                  </a:cubicBezTo>
                  <a:cubicBezTo>
                    <a:pt x="138113" y="4966335"/>
                    <a:pt x="255270" y="4808220"/>
                    <a:pt x="359093" y="4640580"/>
                  </a:cubicBezTo>
                  <a:cubicBezTo>
                    <a:pt x="464820" y="4470083"/>
                    <a:pt x="557213" y="4292918"/>
                    <a:pt x="641033" y="4110990"/>
                  </a:cubicBezTo>
                  <a:cubicBezTo>
                    <a:pt x="790575" y="3784283"/>
                    <a:pt x="909638" y="3445193"/>
                    <a:pt x="1016318" y="3103245"/>
                  </a:cubicBezTo>
                  <a:cubicBezTo>
                    <a:pt x="1098233" y="2841308"/>
                    <a:pt x="1173480" y="2577465"/>
                    <a:pt x="1251585" y="2314575"/>
                  </a:cubicBezTo>
                  <a:cubicBezTo>
                    <a:pt x="1328738" y="2052638"/>
                    <a:pt x="1407795" y="1791653"/>
                    <a:pt x="1498283" y="1533525"/>
                  </a:cubicBezTo>
                  <a:cubicBezTo>
                    <a:pt x="1570673" y="1325880"/>
                    <a:pt x="1650683" y="1122045"/>
                    <a:pt x="1742123" y="922020"/>
                  </a:cubicBezTo>
                  <a:cubicBezTo>
                    <a:pt x="1875473" y="630555"/>
                    <a:pt x="2032635" y="353378"/>
                    <a:pt x="2228850" y="99060"/>
                  </a:cubicBezTo>
                  <a:cubicBezTo>
                    <a:pt x="2251710" y="69533"/>
                    <a:pt x="2276475" y="40005"/>
                    <a:pt x="2300288" y="10478"/>
                  </a:cubicBezTo>
                  <a:cubicBezTo>
                    <a:pt x="2306003" y="2858"/>
                    <a:pt x="2312670" y="0"/>
                    <a:pt x="2323148" y="0"/>
                  </a:cubicBezTo>
                  <a:cubicBezTo>
                    <a:pt x="2340293" y="0"/>
                    <a:pt x="2357438" y="0"/>
                    <a:pt x="2374583" y="0"/>
                  </a:cubicBezTo>
                  <a:close/>
                </a:path>
              </a:pathLst>
            </a:custGeom>
            <a:solidFill>
              <a:srgbClr val="B2B2B2"/>
            </a:solidFill>
            <a:ln w="9525"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AFC11069-C070-154E-8802-92BE53FAC797}"/>
              </a:ext>
            </a:extLst>
          </p:cNvPr>
          <p:cNvSpPr/>
          <p:nvPr userDrawn="1"/>
        </p:nvSpPr>
        <p:spPr>
          <a:xfrm>
            <a:off x="6629401" y="-2544"/>
            <a:ext cx="5562600" cy="6864326"/>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0F786A0E-8A04-4F97-B2BA-E435971E0CC7}"/>
              </a:ext>
            </a:extLst>
          </p:cNvPr>
          <p:cNvSpPr>
            <a:spLocks noGrp="1"/>
          </p:cNvSpPr>
          <p:nvPr>
            <p:ph type="ctrTitle" hasCustomPrompt="1"/>
          </p:nvPr>
        </p:nvSpPr>
        <p:spPr>
          <a:xfrm>
            <a:off x="632455" y="1702984"/>
            <a:ext cx="6810513" cy="1655762"/>
          </a:xfrm>
        </p:spPr>
        <p:txBody>
          <a:bodyPr vert="horz" anchor="b">
            <a:normAutofit/>
          </a:bodyPr>
          <a:lstStyle>
            <a:lvl1pPr marL="0" algn="l" defTabSz="914400" rtl="0" eaLnBrk="1" latinLnBrk="0" hangingPunct="1">
              <a:lnSpc>
                <a:spcPct val="90000"/>
              </a:lnSpc>
              <a:spcBef>
                <a:spcPct val="0"/>
              </a:spcBef>
              <a:buNone/>
              <a:defRPr lang="en-US" sz="4800" b="1" kern="1200" dirty="0">
                <a:solidFill>
                  <a:srgbClr val="013061"/>
                </a:solidFill>
                <a:latin typeface="Century Gothic" panose="020B0502020202020204" pitchFamily="34" charset="0"/>
                <a:ea typeface="Verdana" panose="020B0604030504040204" pitchFamily="34" charset="0"/>
                <a:cs typeface="+mj-cs"/>
              </a:defRPr>
            </a:lvl1pPr>
          </a:lstStyle>
          <a:p>
            <a:r>
              <a:rPr lang="en-US"/>
              <a:t>Thank You Slide</a:t>
            </a:r>
          </a:p>
        </p:txBody>
      </p:sp>
      <p:pic>
        <p:nvPicPr>
          <p:cNvPr id="22" name="Picture 2">
            <a:extLst>
              <a:ext uri="{FF2B5EF4-FFF2-40B4-BE49-F238E27FC236}">
                <a16:creationId xmlns:a16="http://schemas.microsoft.com/office/drawing/2014/main" id="{B4971FD8-0E70-6F4B-9E45-2593729EE5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46538" y="4309907"/>
            <a:ext cx="3447393" cy="1071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4578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2550285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892882B-8DC7-4E71-BBBA-1785C3A7BF9A}"/>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aphic 4">
            <a:extLst>
              <a:ext uri="{FF2B5EF4-FFF2-40B4-BE49-F238E27FC236}">
                <a16:creationId xmlns:a16="http://schemas.microsoft.com/office/drawing/2014/main" id="{F63071A2-41B9-4559-8CC5-621F398944F3}"/>
              </a:ext>
            </a:extLst>
          </p:cNvPr>
          <p:cNvGrpSpPr/>
          <p:nvPr userDrawn="1"/>
        </p:nvGrpSpPr>
        <p:grpSpPr>
          <a:xfrm>
            <a:off x="3704181" y="-1"/>
            <a:ext cx="8487819" cy="6670716"/>
            <a:chOff x="3067050" y="1044892"/>
            <a:chExt cx="6059805" cy="4762500"/>
          </a:xfrm>
          <a:gradFill>
            <a:gsLst>
              <a:gs pos="0">
                <a:srgbClr val="99ACC0">
                  <a:alpha val="0"/>
                </a:srgbClr>
              </a:gs>
              <a:gs pos="62500">
                <a:srgbClr val="B2B2B2"/>
              </a:gs>
              <a:gs pos="100000">
                <a:srgbClr val="013061"/>
              </a:gs>
            </a:gsLst>
            <a:lin ang="5400000" scaled="0"/>
          </a:gradFill>
        </p:grpSpPr>
        <p:sp>
          <p:nvSpPr>
            <p:cNvPr id="21" name="Graphic 4">
              <a:extLst>
                <a:ext uri="{FF2B5EF4-FFF2-40B4-BE49-F238E27FC236}">
                  <a16:creationId xmlns:a16="http://schemas.microsoft.com/office/drawing/2014/main" id="{7BC8DECF-55BC-412F-892E-406A8DF7E0E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A079B6C-920C-48DD-9B5B-E877F0A63385}"/>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56C9AA23-6491-4321-84B3-E992DCB783B9}"/>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1451EEBC-F4BC-4EC0-A43A-47C589978FAB}"/>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DDF44216-FB68-4858-82E6-CD66712FF068}"/>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5E2F388C-AB18-4660-835C-636B29CD2BD3}"/>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D33E90B9-18C7-4441-B174-B0A12CA73B49}"/>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6EAA2ED5-F7F0-405E-9CE7-F583F52F543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4AE6AA9B-C358-4949-9F63-B08286CAF4A7}"/>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514358D3-C341-4DE3-BEE9-F441F85B4728}"/>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C327CB15-F5C4-46A6-A073-509ADB81465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7B5B67F4-672A-4359-9471-D8972FCF5185}"/>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BD7D4237-5567-4BB6-9E78-8CB12E3D1AED}"/>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93C2D72F-5352-477D-86AF-02736AC92CE2}"/>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AF3450AE-C778-4632-8E99-0F0FFC9DDC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cxnSp>
        <p:nvCxnSpPr>
          <p:cNvPr id="38" name="Straight Connector 37">
            <a:extLst>
              <a:ext uri="{FF2B5EF4-FFF2-40B4-BE49-F238E27FC236}">
                <a16:creationId xmlns:a16="http://schemas.microsoft.com/office/drawing/2014/main" id="{BEBEB22D-73CF-4F7D-95C0-697780F20F1F}"/>
              </a:ext>
            </a:extLst>
          </p:cNvPr>
          <p:cNvCxnSpPr>
            <a:cxnSpLocks/>
          </p:cNvCxnSpPr>
          <p:nvPr/>
        </p:nvCxnSpPr>
        <p:spPr>
          <a:xfrm>
            <a:off x="1802778" y="3670332"/>
            <a:ext cx="12827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C935614-E5CE-4E0E-9C0D-E9570EB3B2CD}"/>
              </a:ext>
            </a:extLst>
          </p:cNvPr>
          <p:cNvSpPr>
            <a:spLocks noGrp="1"/>
          </p:cNvSpPr>
          <p:nvPr>
            <p:ph type="ctrTitle" hasCustomPrompt="1"/>
          </p:nvPr>
        </p:nvSpPr>
        <p:spPr>
          <a:xfrm>
            <a:off x="1790815" y="1937175"/>
            <a:ext cx="5939420" cy="1395132"/>
          </a:xfrm>
        </p:spPr>
        <p:txBody>
          <a:bodyPr vert="horz" anchor="b">
            <a:normAutofit/>
          </a:bodyPr>
          <a:lstStyle>
            <a:lvl1pPr marL="0" algn="l" defTabSz="914400" rtl="0" eaLnBrk="1" latinLnBrk="0" hangingPunct="1">
              <a:lnSpc>
                <a:spcPct val="90000"/>
              </a:lnSpc>
              <a:spcBef>
                <a:spcPct val="0"/>
              </a:spcBef>
              <a:buNone/>
              <a:defRPr lang="en-US" sz="44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57" name="Text Placeholder 4">
            <a:extLst>
              <a:ext uri="{FF2B5EF4-FFF2-40B4-BE49-F238E27FC236}">
                <a16:creationId xmlns:a16="http://schemas.microsoft.com/office/drawing/2014/main" id="{A030280E-5EF7-4A5B-94C6-620654394475}"/>
              </a:ext>
            </a:extLst>
          </p:cNvPr>
          <p:cNvSpPr>
            <a:spLocks noGrp="1"/>
          </p:cNvSpPr>
          <p:nvPr>
            <p:ph type="body" sz="quarter" idx="10" hasCustomPrompt="1"/>
          </p:nvPr>
        </p:nvSpPr>
        <p:spPr>
          <a:xfrm>
            <a:off x="1790815" y="3788108"/>
            <a:ext cx="4646604" cy="1168400"/>
          </a:xfrm>
        </p:spPr>
        <p:txBody>
          <a:bodyPr>
            <a:noAutofit/>
          </a:bodyPr>
          <a:lstStyle>
            <a:lvl1pPr marL="0" indent="0" algn="l" defTabSz="914400" rtl="0" eaLnBrk="1" latinLnBrk="0" hangingPunct="1">
              <a:buNone/>
              <a:defRPr lang="en-US" sz="3200" kern="1200" dirty="0" smtClean="0">
                <a:solidFill>
                  <a:schemeClr val="bg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4" name="Picture 3" descr="Text&#10;&#10;Description automatically generated">
            <a:extLst>
              <a:ext uri="{FF2B5EF4-FFF2-40B4-BE49-F238E27FC236}">
                <a16:creationId xmlns:a16="http://schemas.microsoft.com/office/drawing/2014/main" id="{300B25EC-3069-3F41-8026-A702DB37633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36" name="Slide Number Placeholder 7">
            <a:extLst>
              <a:ext uri="{FF2B5EF4-FFF2-40B4-BE49-F238E27FC236}">
                <a16:creationId xmlns:a16="http://schemas.microsoft.com/office/drawing/2014/main" id="{B4A7D26B-2E50-46FB-8BC7-CAD5DCDB6950}"/>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773188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Slide_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67081F2-2672-4A06-8D6C-D70E79AFD9B4}"/>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3053259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935614-E5CE-4E0E-9C0D-E9570EB3B2CD}"/>
              </a:ext>
            </a:extLst>
          </p:cNvPr>
          <p:cNvSpPr>
            <a:spLocks noGrp="1"/>
          </p:cNvSpPr>
          <p:nvPr>
            <p:ph type="ctrTitle"/>
          </p:nvPr>
        </p:nvSpPr>
        <p:spPr>
          <a:xfrm>
            <a:off x="2171116" y="2659933"/>
            <a:ext cx="8316681" cy="929340"/>
          </a:xfrm>
        </p:spPr>
        <p:txBody>
          <a:bodyPr vert="horz" anchor="b">
            <a:normAutofit/>
          </a:bodyPr>
          <a:lstStyle>
            <a:lvl1pPr marL="0" algn="l"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grpSp>
        <p:nvGrpSpPr>
          <p:cNvPr id="9" name="Graphic 4">
            <a:extLst>
              <a:ext uri="{FF2B5EF4-FFF2-40B4-BE49-F238E27FC236}">
                <a16:creationId xmlns:a16="http://schemas.microsoft.com/office/drawing/2014/main" id="{A2F7C970-0F95-49C8-8643-1F3A5CD4CCE7}"/>
              </a:ext>
            </a:extLst>
          </p:cNvPr>
          <p:cNvGrpSpPr/>
          <p:nvPr userDrawn="1"/>
        </p:nvGrpSpPr>
        <p:grpSpPr>
          <a:xfrm flipH="1">
            <a:off x="0" y="0"/>
            <a:ext cx="6096000" cy="4790946"/>
            <a:chOff x="3067050" y="1044892"/>
            <a:chExt cx="6059805" cy="4762500"/>
          </a:xfrm>
          <a:gradFill>
            <a:gsLst>
              <a:gs pos="0">
                <a:srgbClr val="99ACC0">
                  <a:alpha val="0"/>
                </a:srgbClr>
              </a:gs>
              <a:gs pos="62500">
                <a:srgbClr val="B2B2B2"/>
              </a:gs>
              <a:gs pos="100000">
                <a:srgbClr val="013061"/>
              </a:gs>
            </a:gsLst>
            <a:lin ang="5400000" scaled="0"/>
          </a:gradFill>
        </p:grpSpPr>
        <p:sp>
          <p:nvSpPr>
            <p:cNvPr id="10" name="Graphic 4">
              <a:extLst>
                <a:ext uri="{FF2B5EF4-FFF2-40B4-BE49-F238E27FC236}">
                  <a16:creationId xmlns:a16="http://schemas.microsoft.com/office/drawing/2014/main" id="{E7A95639-69CA-4DC1-8B4F-DEDAB2517853}"/>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EE7BC3AC-E07E-48FA-8F78-10567D9F6F56}"/>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D2688DA9-E0FF-4D64-8329-9F1968D4C2CC}"/>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3C2AC0A1-6281-4E67-893D-88093118C31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E2067F8B-F086-4CC4-BE64-897B1C599AA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54D9B084-163D-4BC4-9A5F-033ECD573646}"/>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D267A01-A2E9-48EB-AC17-A667634235FE}"/>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F9A85EAB-CFBD-464F-9768-DE075F7CBEC3}"/>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61FF304-E5E7-4F84-A50A-93FCBFE3464F}"/>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6B0343CD-5C36-423D-A21C-0252D8FA4915}"/>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B7F006E-2037-4F9A-A628-EEC39861D14D}"/>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12774723-645B-497D-8736-CC8A6906C626}"/>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0F91FE57-682C-4D80-96FB-9494F787C7B6}"/>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CBBAE351-F9B6-43E7-AC85-1D02E84E6178}"/>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E95AD943-8196-44A2-8F7B-A3C456A1D81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cxnSp>
        <p:nvCxnSpPr>
          <p:cNvPr id="28" name="Straight Connector 27">
            <a:extLst>
              <a:ext uri="{FF2B5EF4-FFF2-40B4-BE49-F238E27FC236}">
                <a16:creationId xmlns:a16="http://schemas.microsoft.com/office/drawing/2014/main" id="{0F3F1118-A5A3-45FC-B82E-CCBAE5B28662}"/>
              </a:ext>
            </a:extLst>
          </p:cNvPr>
          <p:cNvCxnSpPr>
            <a:cxnSpLocks/>
          </p:cNvCxnSpPr>
          <p:nvPr userDrawn="1"/>
        </p:nvCxnSpPr>
        <p:spPr>
          <a:xfrm rot="5400000">
            <a:off x="2827547" y="3257929"/>
            <a:ext cx="0" cy="13128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Picture 26" descr="Text&#10;&#10;Description automatically generated">
            <a:extLst>
              <a:ext uri="{FF2B5EF4-FFF2-40B4-BE49-F238E27FC236}">
                <a16:creationId xmlns:a16="http://schemas.microsoft.com/office/drawing/2014/main" id="{345614C9-6F27-B34B-BA69-117585AA2AA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29" name="Slide Number Placeholder 7">
            <a:extLst>
              <a:ext uri="{FF2B5EF4-FFF2-40B4-BE49-F238E27FC236}">
                <a16:creationId xmlns:a16="http://schemas.microsoft.com/office/drawing/2014/main" id="{93AC9C10-E2E0-4208-99EA-3409632D2116}"/>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4081928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_3">
    <p:bg>
      <p:bgPr>
        <a:solidFill>
          <a:srgbClr val="060506"/>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5465FC4-944B-4516-9E87-7E82A52D7A01}"/>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3979254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ED76EB74-9DB2-46A5-9923-BB95B81777A2}"/>
              </a:ext>
            </a:extLst>
          </p:cNvPr>
          <p:cNvCxnSpPr>
            <a:cxnSpLocks/>
          </p:cNvCxnSpPr>
          <p:nvPr userDrawn="1"/>
        </p:nvCxnSpPr>
        <p:spPr>
          <a:xfrm rot="5400000">
            <a:off x="6096000" y="2370648"/>
            <a:ext cx="0" cy="13128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84BD15A1-96AA-4875-B912-4DD9FF782F38}"/>
              </a:ext>
            </a:extLst>
          </p:cNvPr>
          <p:cNvPicPr>
            <a:picLocks noChangeAspect="1"/>
          </p:cNvPicPr>
          <p:nvPr userDrawn="1"/>
        </p:nvPicPr>
        <p:blipFill rotWithShape="1">
          <a:blip r:embed="rId5"/>
          <a:srcRect t="24474" b="9048"/>
          <a:stretch/>
        </p:blipFill>
        <p:spPr>
          <a:xfrm>
            <a:off x="14713" y="3865851"/>
            <a:ext cx="12162574" cy="2897806"/>
          </a:xfrm>
          <a:prstGeom prst="rect">
            <a:avLst/>
          </a:prstGeom>
        </p:spPr>
      </p:pic>
      <p:sp>
        <p:nvSpPr>
          <p:cNvPr id="16" name="Title 1">
            <a:extLst>
              <a:ext uri="{FF2B5EF4-FFF2-40B4-BE49-F238E27FC236}">
                <a16:creationId xmlns:a16="http://schemas.microsoft.com/office/drawing/2014/main" id="{B8FC3382-1288-41F9-BEC9-FAEFE5DE3CE7}"/>
              </a:ext>
            </a:extLst>
          </p:cNvPr>
          <p:cNvSpPr>
            <a:spLocks noGrp="1"/>
          </p:cNvSpPr>
          <p:nvPr>
            <p:ph type="ctrTitle"/>
          </p:nvPr>
        </p:nvSpPr>
        <p:spPr>
          <a:xfrm>
            <a:off x="2854493" y="1600200"/>
            <a:ext cx="6480008" cy="1275670"/>
          </a:xfrm>
        </p:spPr>
        <p:txBody>
          <a:bodyPr vert="horz" anchor="b">
            <a:normAutofit/>
          </a:bodyPr>
          <a:lstStyle>
            <a:lvl1pPr marL="0" algn="ctr"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18" name="Text Placeholder 4">
            <a:extLst>
              <a:ext uri="{FF2B5EF4-FFF2-40B4-BE49-F238E27FC236}">
                <a16:creationId xmlns:a16="http://schemas.microsoft.com/office/drawing/2014/main" id="{78D323FF-20CC-4334-A114-EEAAF5177FA8}"/>
              </a:ext>
            </a:extLst>
          </p:cNvPr>
          <p:cNvSpPr>
            <a:spLocks noGrp="1"/>
          </p:cNvSpPr>
          <p:nvPr>
            <p:ph type="body" sz="quarter" idx="10" hasCustomPrompt="1"/>
          </p:nvPr>
        </p:nvSpPr>
        <p:spPr>
          <a:xfrm>
            <a:off x="2854509" y="3178287"/>
            <a:ext cx="6482982" cy="1168400"/>
          </a:xfrm>
        </p:spPr>
        <p:txBody>
          <a:bodyPr>
            <a:noAutofit/>
          </a:bodyPr>
          <a:lstStyle>
            <a:lvl1pPr marL="0" indent="0" algn="ctr" defTabSz="914400" rtl="0" eaLnBrk="1" latinLnBrk="0" hangingPunct="1">
              <a:buNone/>
              <a:defRPr lang="en-US" sz="3200" kern="1200" dirty="0">
                <a:solidFill>
                  <a:schemeClr val="bg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8" name="Picture 7" descr="Text&#10;&#10;Description automatically generated">
            <a:extLst>
              <a:ext uri="{FF2B5EF4-FFF2-40B4-BE49-F238E27FC236}">
                <a16:creationId xmlns:a16="http://schemas.microsoft.com/office/drawing/2014/main" id="{808E9FC4-23C6-F84E-84F7-48724A04D89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9" name="Slide Number Placeholder 7">
            <a:extLst>
              <a:ext uri="{FF2B5EF4-FFF2-40B4-BE49-F238E27FC236}">
                <a16:creationId xmlns:a16="http://schemas.microsoft.com/office/drawing/2014/main" id="{E843A243-84FD-4580-9164-414F83CBAEE6}"/>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32192825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Slide_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B53EDD9-9699-40FD-A559-BDB7B75E1FC7}"/>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19853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E14E91F-1A1B-4A70-A507-25967C61F47E}"/>
              </a:ext>
            </a:extLst>
          </p:cNvPr>
          <p:cNvCxnSpPr>
            <a:cxnSpLocks/>
          </p:cNvCxnSpPr>
          <p:nvPr userDrawn="1"/>
        </p:nvCxnSpPr>
        <p:spPr>
          <a:xfrm flipH="1">
            <a:off x="4220794" y="3639183"/>
            <a:ext cx="91551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DDC35FF3-E954-43D8-8C17-200EF1EEFE2F}"/>
              </a:ext>
            </a:extLst>
          </p:cNvPr>
          <p:cNvPicPr>
            <a:picLocks noChangeAspect="1"/>
          </p:cNvPicPr>
          <p:nvPr userDrawn="1"/>
        </p:nvPicPr>
        <p:blipFill rotWithShape="1">
          <a:blip r:embed="rId5"/>
          <a:srcRect l="16825"/>
          <a:stretch/>
        </p:blipFill>
        <p:spPr>
          <a:xfrm>
            <a:off x="-25400" y="0"/>
            <a:ext cx="4246194" cy="6858000"/>
          </a:xfrm>
          <a:prstGeom prst="rect">
            <a:avLst/>
          </a:prstGeom>
        </p:spPr>
      </p:pic>
      <p:sp>
        <p:nvSpPr>
          <p:cNvPr id="23" name="Title 1">
            <a:extLst>
              <a:ext uri="{FF2B5EF4-FFF2-40B4-BE49-F238E27FC236}">
                <a16:creationId xmlns:a16="http://schemas.microsoft.com/office/drawing/2014/main" id="{E8BCFA27-9331-4AFA-A2B5-1A8FDCA06E2C}"/>
              </a:ext>
            </a:extLst>
          </p:cNvPr>
          <p:cNvSpPr>
            <a:spLocks noGrp="1"/>
          </p:cNvSpPr>
          <p:nvPr>
            <p:ph type="ctrTitle"/>
          </p:nvPr>
        </p:nvSpPr>
        <p:spPr>
          <a:xfrm>
            <a:off x="4220795" y="2412512"/>
            <a:ext cx="7475906" cy="929340"/>
          </a:xfrm>
        </p:spPr>
        <p:txBody>
          <a:bodyPr vert="horz" anchor="b">
            <a:normAutofit/>
          </a:bodyPr>
          <a:lstStyle>
            <a:lvl1pPr marL="0" algn="l"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7" name="Slide Number Placeholder 7">
            <a:extLst>
              <a:ext uri="{FF2B5EF4-FFF2-40B4-BE49-F238E27FC236}">
                <a16:creationId xmlns:a16="http://schemas.microsoft.com/office/drawing/2014/main" id="{0BA81359-2247-43B4-87FC-A40B96E45FFD}"/>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34465508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9FF82B6B-D20E-3A4D-A362-76D16AD67AA0}"/>
              </a:ext>
            </a:extLst>
          </p:cNvPr>
          <p:cNvPicPr>
            <a:picLocks noChangeAspect="1"/>
          </p:cNvPicPr>
          <p:nvPr userDrawn="1"/>
        </p:nvPicPr>
        <p:blipFill rotWithShape="1">
          <a:blip r:embed="rId2">
            <a:alphaModFix amt="8000"/>
          </a:blip>
          <a:srcRect t="3464" r="13250" b="7243"/>
          <a:stretch/>
        </p:blipFill>
        <p:spPr>
          <a:xfrm>
            <a:off x="5445494" y="-1"/>
            <a:ext cx="6746506" cy="6858001"/>
          </a:xfrm>
          <a:prstGeom prst="rect">
            <a:avLst/>
          </a:prstGeom>
        </p:spPr>
      </p:pic>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9A5C9E-35FB-4739-ABE9-5152637DDF48}"/>
              </a:ext>
            </a:extLst>
          </p:cNvPr>
          <p:cNvSpPr>
            <a:spLocks noGrp="1"/>
          </p:cNvSpPr>
          <p:nvPr>
            <p:ph idx="1"/>
          </p:nvPr>
        </p:nvSpPr>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1CF91DCC-7578-0C43-A6CB-45712F2950B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8E927C3-92B5-DE41-8216-A26A55C91808}"/>
              </a:ext>
            </a:extLst>
          </p:cNvPr>
          <p:cNvSpPr/>
          <p:nvPr userDrawn="1"/>
        </p:nvSpPr>
        <p:spPr>
          <a:xfrm>
            <a:off x="495300" y="1258432"/>
            <a:ext cx="112014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5279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44DA23B5-A29F-4E4D-BA17-E525AD74D0FE}"/>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1436A0C0-79F7-714A-80B0-B387BEDD40F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5B6BB44-43AF-154C-9948-8B0B7D4FCACF}"/>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74086629-443A-184E-81AB-ADB29E32529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06E7576C-115A-E044-B49A-86D9E0EB06C7}"/>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E96DCF54-1FEC-974C-A0D9-2F2FBEF733D5}"/>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7701E27A-960D-4A4C-9566-5378186B599A}"/>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738363A6-D0B3-CD4E-9E63-D300AD18E11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FB78143-8533-3847-8F82-6DCEFF91534B}"/>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705A318-E678-D74F-AD7D-F9E0EC7D2E03}"/>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748315FE-F284-3E4F-B113-13C66766521A}"/>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1FA5ECEE-AEC2-B644-BBA8-6CAEDD7F248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52E56B28-7148-C441-B95D-2F41004E52D3}"/>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6ACFB7-5C00-0846-99B2-2B9B7E30647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35B4295-810A-214E-9A1B-54A3F741B82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D740E014-A3E0-5E40-B5A4-8299E90656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318D513A-1776-6247-AA06-9A3B89A623FA}"/>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9A5C9E-35FB-4739-ABE9-5152637DDF48}"/>
              </a:ext>
            </a:extLst>
          </p:cNvPr>
          <p:cNvSpPr>
            <a:spLocks noGrp="1"/>
          </p:cNvSpPr>
          <p:nvPr>
            <p:ph idx="1"/>
          </p:nvPr>
        </p:nvSpPr>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979DEF0-C044-E14C-AE71-071279ABBC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91272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with Bullets points Slides">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44DA23B5-A29F-4E4D-BA17-E525AD74D0FE}"/>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1436A0C0-79F7-714A-80B0-B387BEDD40F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5B6BB44-43AF-154C-9948-8B0B7D4FCACF}"/>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74086629-443A-184E-81AB-ADB29E32529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06E7576C-115A-E044-B49A-86D9E0EB06C7}"/>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E96DCF54-1FEC-974C-A0D9-2F2FBEF733D5}"/>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7701E27A-960D-4A4C-9566-5378186B599A}"/>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738363A6-D0B3-CD4E-9E63-D300AD18E11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FB78143-8533-3847-8F82-6DCEFF91534B}"/>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705A318-E678-D74F-AD7D-F9E0EC7D2E03}"/>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748315FE-F284-3E4F-B113-13C66766521A}"/>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1FA5ECEE-AEC2-B644-BBA8-6CAEDD7F248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52E56B28-7148-C441-B95D-2F41004E52D3}"/>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6ACFB7-5C00-0846-99B2-2B9B7E30647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35B4295-810A-214E-9A1B-54A3F741B82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D740E014-A3E0-5E40-B5A4-8299E90656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318D513A-1776-6247-AA06-9A3B89A623FA}"/>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979DEF0-C044-E14C-AE71-071279ABBC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5" name="Content Placeholder 2">
            <a:extLst>
              <a:ext uri="{FF2B5EF4-FFF2-40B4-BE49-F238E27FC236}">
                <a16:creationId xmlns:a16="http://schemas.microsoft.com/office/drawing/2014/main" id="{60EE586F-88B1-4428-9A78-C5035CB3CA87}"/>
              </a:ext>
            </a:extLst>
          </p:cNvPr>
          <p:cNvSpPr>
            <a:spLocks noGrp="1"/>
          </p:cNvSpPr>
          <p:nvPr>
            <p:ph idx="1"/>
          </p:nvPr>
        </p:nvSpPr>
        <p:spPr>
          <a:xfrm>
            <a:off x="495300" y="1430338"/>
            <a:ext cx="11201400" cy="5008562"/>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83751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AE3DD2-2834-4824-92A3-3C47AE29FFE6}"/>
              </a:ext>
            </a:extLst>
          </p:cNvPr>
          <p:cNvGraphicFramePr>
            <a:graphicFrameLocks noChangeAspect="1"/>
          </p:cNvGraphicFramePr>
          <p:nvPr userDrawn="1">
            <p:custDataLst>
              <p:tags r:id="rId24"/>
            </p:custDataLst>
            <p:extLst>
              <p:ext uri="{D42A27DB-BD31-4B8C-83A1-F6EECF244321}">
                <p14:modId xmlns:p14="http://schemas.microsoft.com/office/powerpoint/2010/main" val="30614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13" name="Object 12" hidden="1">
                        <a:extLst>
                          <a:ext uri="{FF2B5EF4-FFF2-40B4-BE49-F238E27FC236}">
                            <a16:creationId xmlns:a16="http://schemas.microsoft.com/office/drawing/2014/main" id="{4EAE3DD2-2834-4824-92A3-3C47AE29FFE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8D2D7EC-30AD-4DC9-8BFD-459045015804}"/>
              </a:ext>
            </a:extLst>
          </p:cNvPr>
          <p:cNvSpPr>
            <a:spLocks noGrp="1"/>
          </p:cNvSpPr>
          <p:nvPr>
            <p:ph type="title"/>
          </p:nvPr>
        </p:nvSpPr>
        <p:spPr>
          <a:xfrm>
            <a:off x="495300" y="365125"/>
            <a:ext cx="11201400" cy="893307"/>
          </a:xfrm>
          <a:prstGeom prst="rect">
            <a:avLst/>
          </a:prstGeom>
        </p:spPr>
        <p:txBody>
          <a:bodyPr vert="horz" lIns="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3F603E-3F50-4297-BFDD-5C671600976F}"/>
              </a:ext>
            </a:extLst>
          </p:cNvPr>
          <p:cNvSpPr>
            <a:spLocks noGrp="1"/>
          </p:cNvSpPr>
          <p:nvPr>
            <p:ph type="body" idx="1"/>
          </p:nvPr>
        </p:nvSpPr>
        <p:spPr>
          <a:xfrm>
            <a:off x="495300" y="1430338"/>
            <a:ext cx="11201400" cy="50085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58C43C5-F0A7-476A-83EF-400B1E956AC4}"/>
              </a:ext>
            </a:extLst>
          </p:cNvPr>
          <p:cNvSpPr>
            <a:spLocks noGrp="1"/>
          </p:cNvSpPr>
          <p:nvPr>
            <p:ph type="sldNum" sz="quarter" idx="4"/>
          </p:nvPr>
        </p:nvSpPr>
        <p:spPr>
          <a:xfrm>
            <a:off x="11009562" y="6449372"/>
            <a:ext cx="778221" cy="228600"/>
          </a:xfrm>
          <a:prstGeom prst="rect">
            <a:avLst/>
          </a:prstGeom>
        </p:spPr>
        <p:txBody>
          <a:bodyPr vert="horz" lIns="91440" tIns="45720" rIns="91440" bIns="45720" rtlCol="0" anchor="ctr"/>
          <a:lstStyle>
            <a:lvl1pPr algn="r">
              <a:defRPr sz="1100">
                <a:solidFill>
                  <a:schemeClr val="tx1"/>
                </a:solidFill>
                <a:latin typeface="Century Gothic" panose="020B0502020202020204" pitchFamily="34" charset="0"/>
              </a:defRPr>
            </a:lvl1pPr>
          </a:lstStyle>
          <a:p>
            <a:fld id="{E12A10EF-65F5-415A-B4AC-FF5E1BACB397}" type="slidenum">
              <a:rPr lang="en-US" smtClean="0"/>
              <a:pPr/>
              <a:t>‹#›</a:t>
            </a:fld>
            <a:endParaRPr lang="en-US"/>
          </a:p>
        </p:txBody>
      </p:sp>
      <p:sp>
        <p:nvSpPr>
          <p:cNvPr id="9" name="Rectangle 8" hidden="1">
            <a:extLst>
              <a:ext uri="{FF2B5EF4-FFF2-40B4-BE49-F238E27FC236}">
                <a16:creationId xmlns:a16="http://schemas.microsoft.com/office/drawing/2014/main" id="{94EED783-9D6D-4DDB-B2EB-FE7B81349125}"/>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a:latin typeface="Century Gothic" panose="020B0502020202020204" pitchFamily="34" charset="0"/>
              <a:ea typeface="+mj-ea"/>
              <a:cs typeface="+mj-cs"/>
            </a:endParaRPr>
          </a:p>
        </p:txBody>
      </p:sp>
    </p:spTree>
    <p:extLst>
      <p:ext uri="{BB962C8B-B14F-4D97-AF65-F5344CB8AC3E}">
        <p14:creationId xmlns:p14="http://schemas.microsoft.com/office/powerpoint/2010/main" val="2978498364"/>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4" r:id="rId3"/>
    <p:sldLayoutId id="2147483665" r:id="rId4"/>
    <p:sldLayoutId id="2147483667" r:id="rId5"/>
    <p:sldLayoutId id="2147483666" r:id="rId6"/>
    <p:sldLayoutId id="2147483650" r:id="rId7"/>
    <p:sldLayoutId id="2147483672" r:id="rId8"/>
    <p:sldLayoutId id="2147483674" r:id="rId9"/>
    <p:sldLayoutId id="2147483654" r:id="rId10"/>
    <p:sldLayoutId id="2147483678" r:id="rId11"/>
    <p:sldLayoutId id="2147483683" r:id="rId12"/>
    <p:sldLayoutId id="2147483660" r:id="rId13"/>
    <p:sldLayoutId id="2147483673" r:id="rId14"/>
    <p:sldLayoutId id="2147483681" r:id="rId15"/>
    <p:sldLayoutId id="2147483680" r:id="rId16"/>
    <p:sldLayoutId id="2147483655" r:id="rId17"/>
    <p:sldLayoutId id="2147483677" r:id="rId18"/>
    <p:sldLayoutId id="2147483675" r:id="rId19"/>
    <p:sldLayoutId id="2147483682" r:id="rId20"/>
    <p:sldLayoutId id="2147483676" r:id="rId21"/>
    <p:sldLayoutId id="2147483679" r:id="rId22"/>
  </p:sldLayoutIdLst>
  <p:hf hdr="0" dt="0"/>
  <p:txStyles>
    <p:title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Century Gothic" panose="020B0502020202020204" pitchFamily="34" charset="0"/>
          <a:ea typeface="Verdana" panose="020B0604030504040204" pitchFamily="34" charset="0"/>
          <a:cs typeface="+mn-cs"/>
        </a:defRPr>
      </a:lvl1pPr>
      <a:lvl2pPr marL="4572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Century Gothic" panose="020B0502020202020204" pitchFamily="34" charset="0"/>
          <a:ea typeface="Verdana" panose="020B0604030504040204" pitchFamily="34" charset="0"/>
          <a:cs typeface="+mn-cs"/>
        </a:defRPr>
      </a:lvl2pPr>
      <a:lvl3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Century Gothic" panose="020B0502020202020204" pitchFamily="34" charset="0"/>
          <a:ea typeface="Verdana" panose="020B0604030504040204" pitchFamily="34" charset="0"/>
          <a:cs typeface="+mn-cs"/>
        </a:defRPr>
      </a:lvl3pPr>
      <a:lvl4pPr marL="914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Century Gothic" panose="020B0502020202020204" pitchFamily="34" charset="0"/>
          <a:ea typeface="Verdana" panose="020B0604030504040204" pitchFamily="34" charset="0"/>
          <a:cs typeface="+mn-cs"/>
        </a:defRPr>
      </a:lvl4pPr>
      <a:lvl5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Century Gothic" panose="020B0502020202020204" pitchFamily="34" charset="0"/>
          <a:ea typeface="Verdana" panose="020B060403050404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7368" userDrawn="1">
          <p15:clr>
            <a:srgbClr val="F26B43"/>
          </p15:clr>
        </p15:guide>
        <p15:guide id="3" orient="horz" pos="228" userDrawn="1">
          <p15:clr>
            <a:srgbClr val="F26B43"/>
          </p15:clr>
        </p15:guide>
        <p15:guide id="4" orient="horz" pos="4056" userDrawn="1">
          <p15:clr>
            <a:srgbClr val="F26B43"/>
          </p15:clr>
        </p15:guide>
        <p15:guide id="5" orient="horz" pos="792" userDrawn="1">
          <p15:clr>
            <a:srgbClr val="F26B43"/>
          </p15:clr>
        </p15:guide>
        <p15:guide id="6" orient="horz" pos="901" userDrawn="1">
          <p15:clr>
            <a:srgbClr val="F26B43"/>
          </p15:clr>
        </p15:guide>
        <p15:guide id="7" orient="horz" pos="393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22.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7.xml"/><Relationship Id="rId1" Type="http://schemas.openxmlformats.org/officeDocument/2006/relationships/tags" Target="../tags/tag23.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7.xml"/><Relationship Id="rId1" Type="http://schemas.openxmlformats.org/officeDocument/2006/relationships/tags" Target="../tags/tag24.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7.xml"/><Relationship Id="rId1" Type="http://schemas.openxmlformats.org/officeDocument/2006/relationships/tags" Target="../tags/tag25.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7.xml"/><Relationship Id="rId1" Type="http://schemas.openxmlformats.org/officeDocument/2006/relationships/tags" Target="../tags/tag1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tags" Target="../tags/tag1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tags" Target="../tags/tag1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D84549D-0985-467F-896D-1DABDDA0053F}"/>
              </a:ext>
            </a:extLst>
          </p:cNvPr>
          <p:cNvSpPr>
            <a:spLocks noGrp="1"/>
          </p:cNvSpPr>
          <p:nvPr>
            <p:ph type="ctrTitle"/>
          </p:nvPr>
        </p:nvSpPr>
        <p:spPr>
          <a:xfrm>
            <a:off x="593155" y="1597025"/>
            <a:ext cx="6868349" cy="1655762"/>
          </a:xfrm>
        </p:spPr>
        <p:txBody>
          <a:bodyPr>
            <a:normAutofit/>
          </a:bodyPr>
          <a:lstStyle/>
          <a:p>
            <a:r>
              <a:rPr lang="en-US" dirty="0"/>
              <a:t>State Blanca West</a:t>
            </a:r>
            <a:br>
              <a:rPr lang="en-US" dirty="0"/>
            </a:br>
            <a:r>
              <a:rPr lang="en-US" dirty="0"/>
              <a:t>(Lowry Ranch CAP)</a:t>
            </a:r>
          </a:p>
        </p:txBody>
      </p:sp>
      <p:sp>
        <p:nvSpPr>
          <p:cNvPr id="25" name="Text Placeholder 24">
            <a:extLst>
              <a:ext uri="{FF2B5EF4-FFF2-40B4-BE49-F238E27FC236}">
                <a16:creationId xmlns:a16="http://schemas.microsoft.com/office/drawing/2014/main" id="{DEEDF144-EDD6-4AC4-AB20-F267CBA867E2}"/>
              </a:ext>
            </a:extLst>
          </p:cNvPr>
          <p:cNvSpPr>
            <a:spLocks noGrp="1"/>
          </p:cNvSpPr>
          <p:nvPr>
            <p:ph type="body" sz="quarter" idx="10"/>
          </p:nvPr>
        </p:nvSpPr>
        <p:spPr>
          <a:xfrm>
            <a:off x="593592" y="3688480"/>
            <a:ext cx="7263146" cy="1399086"/>
          </a:xfrm>
        </p:spPr>
        <p:txBody>
          <a:bodyPr/>
          <a:lstStyle/>
          <a:p>
            <a:r>
              <a:rPr lang="en-IN" dirty="0"/>
              <a:t>Neighborhood Meeting  </a:t>
            </a:r>
          </a:p>
          <a:p>
            <a:r>
              <a:rPr lang="en-IN" dirty="0"/>
              <a:t>February 27, 2024 </a:t>
            </a:r>
          </a:p>
          <a:p>
            <a:r>
              <a:rPr lang="en-IN" dirty="0"/>
              <a:t>3 PM – 7 PM</a:t>
            </a:r>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Slide Number Placeholder 1">
            <a:extLst>
              <a:ext uri="{FF2B5EF4-FFF2-40B4-BE49-F238E27FC236}">
                <a16:creationId xmlns:a16="http://schemas.microsoft.com/office/drawing/2014/main" id="{6D334EC9-2A15-4335-B603-48886938C224}"/>
              </a:ext>
            </a:extLst>
          </p:cNvPr>
          <p:cNvSpPr txBox="1">
            <a:spLocks/>
          </p:cNvSpPr>
          <p:nvPr/>
        </p:nvSpPr>
        <p:spPr>
          <a:xfrm>
            <a:off x="11009562" y="6449372"/>
            <a:ext cx="778221" cy="228600"/>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A10EF-65F5-415A-B4AC-FF5E1BACB397}" type="slidenum">
              <a:rPr lang="en-US" smtClean="0"/>
              <a:pPr/>
              <a:t>1</a:t>
            </a:fld>
            <a:endParaRPr lang="en-US"/>
          </a:p>
        </p:txBody>
      </p:sp>
    </p:spTree>
    <p:extLst>
      <p:ext uri="{BB962C8B-B14F-4D97-AF65-F5344CB8AC3E}">
        <p14:creationId xmlns:p14="http://schemas.microsoft.com/office/powerpoint/2010/main" val="3569955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Mitigation and BMP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401931"/>
            <a:ext cx="11201400" cy="5008562"/>
          </a:xfrm>
        </p:spPr>
        <p:txBody>
          <a:bodyPr>
            <a:normAutofit/>
          </a:bodyPr>
          <a:lstStyle/>
          <a:p>
            <a:pPr marL="0" indent="0">
              <a:buNone/>
            </a:pPr>
            <a:r>
              <a:rPr lang="en-IN" sz="1600" b="1" dirty="0"/>
              <a:t>Water</a:t>
            </a:r>
          </a:p>
          <a:p>
            <a:pPr>
              <a:lnSpc>
                <a:spcPct val="150000"/>
              </a:lnSpc>
            </a:pPr>
            <a:r>
              <a:rPr lang="en-US" sz="1400" dirty="0"/>
              <a:t>Crestone shall, at its own cost, perform initial baseline sampling and testing of all water sources located within one-half (1/2) mile radius of Oil and Gas Facility pursuant to ECMC Rule 615 and Arapahoe County Rule 5-36.F.9(b.). </a:t>
            </a:r>
          </a:p>
          <a:p>
            <a:pPr>
              <a:lnSpc>
                <a:spcPct val="150000"/>
              </a:lnSpc>
            </a:pPr>
            <a:r>
              <a:rPr lang="en-US" sz="1400" dirty="0"/>
              <a:t>Crestone utilizes a polyethylene liner beneath the drilling rig during drilling operations and beneath the areas where completions equipment (including pump trucks and other heavy equipment) during completion operations to ensure there is an impermeable layer between the rig and the earth. The use of this liner prevents hydrocarbons and other fluids from reaching the soil in the unlikely event a leak does occur. The liner is inspected for integrity throughout drilling operations and maintenance/repair to the liner occurs as needed. </a:t>
            </a:r>
          </a:p>
          <a:p>
            <a:pPr>
              <a:lnSpc>
                <a:spcPct val="150000"/>
              </a:lnSpc>
            </a:pPr>
            <a:r>
              <a:rPr lang="en-US" sz="1400" dirty="0"/>
              <a:t>Crestone will install an engineered containment system around and beneath the tank battery. The containment system is constructed of a perimeter of walls that are post driven into the ground around a flexible geotextile base. All components including the underlayment are sprayed with a polyurea liner technology. This liner technology maintains impermeability and puncture resistance under exposure to UV rays, weather extremes, and chemicals commonly encountered in oil and natural gas production and provides seamless protection.</a:t>
            </a:r>
          </a:p>
          <a:p>
            <a:pPr marL="0" indent="0">
              <a:buNone/>
            </a:pPr>
            <a:endParaRPr lang="en-IN" sz="1400" dirty="0"/>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0</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285666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84561-B6B7-1845-9926-DE30D60DBA0A}"/>
              </a:ext>
            </a:extLst>
          </p:cNvPr>
          <p:cNvSpPr>
            <a:spLocks noGrp="1"/>
          </p:cNvSpPr>
          <p:nvPr>
            <p:ph type="title"/>
          </p:nvPr>
        </p:nvSpPr>
        <p:spPr>
          <a:xfrm>
            <a:off x="495300" y="365125"/>
            <a:ext cx="11201400" cy="893307"/>
          </a:xfrm>
        </p:spPr>
        <p:txBody>
          <a:bodyPr/>
          <a:lstStyle/>
          <a:p>
            <a:r>
              <a:rPr lang="en-US" dirty="0"/>
              <a:t>Mitigation and BMPs (continued)</a:t>
            </a:r>
          </a:p>
        </p:txBody>
      </p:sp>
      <p:sp>
        <p:nvSpPr>
          <p:cNvPr id="3" name="Content Placeholder 2">
            <a:extLst>
              <a:ext uri="{FF2B5EF4-FFF2-40B4-BE49-F238E27FC236}">
                <a16:creationId xmlns:a16="http://schemas.microsoft.com/office/drawing/2014/main" id="{CC295A13-976B-FAF9-BED8-4091DE0DDBB0}"/>
              </a:ext>
            </a:extLst>
          </p:cNvPr>
          <p:cNvSpPr>
            <a:spLocks noGrp="1"/>
          </p:cNvSpPr>
          <p:nvPr>
            <p:ph idx="1"/>
          </p:nvPr>
        </p:nvSpPr>
        <p:spPr>
          <a:xfrm>
            <a:off x="495300" y="1349621"/>
            <a:ext cx="11201400" cy="5008562"/>
          </a:xfrm>
        </p:spPr>
        <p:txBody>
          <a:bodyPr>
            <a:normAutofit/>
          </a:bodyPr>
          <a:lstStyle/>
          <a:p>
            <a:pPr marL="0" indent="0">
              <a:buNone/>
            </a:pPr>
            <a:r>
              <a:rPr lang="en-US" sz="2000" b="1" dirty="0"/>
              <a:t>Air</a:t>
            </a:r>
          </a:p>
          <a:p>
            <a:pPr marL="0" indent="0">
              <a:spcBef>
                <a:spcPts val="400"/>
              </a:spcBef>
              <a:buNone/>
            </a:pPr>
            <a:r>
              <a:rPr lang="en-US" sz="1400" b="1" dirty="0"/>
              <a:t>Engineering Practices to Reduce Cumulative Impacts</a:t>
            </a:r>
          </a:p>
          <a:p>
            <a:pPr>
              <a:lnSpc>
                <a:spcPct val="100000"/>
              </a:lnSpc>
            </a:pPr>
            <a:r>
              <a:rPr lang="en-US" sz="1400" dirty="0"/>
              <a:t>Tier IV engines (or equivalent) will be employed during Completions to reduce emissions.</a:t>
            </a:r>
          </a:p>
          <a:p>
            <a:pPr>
              <a:lnSpc>
                <a:spcPct val="100000"/>
              </a:lnSpc>
            </a:pPr>
            <a:r>
              <a:rPr lang="en-US" sz="1400" dirty="0"/>
              <a:t>If deemed technically feasible by the local utility provider, an electric drilling rig will be employed. However, in the event that an electric rig cannot be utilized, Crestone pledges to use a Tier IV or equivalent drilling rig.</a:t>
            </a:r>
          </a:p>
          <a:p>
            <a:pPr>
              <a:lnSpc>
                <a:spcPct val="100000"/>
              </a:lnSpc>
            </a:pPr>
            <a:r>
              <a:rPr lang="en-US" sz="1400" dirty="0"/>
              <a:t>To minimize emissions, we employ top of the line engineering practices. These include utilizing instrument air pneumatics, implementing tank and loadout controls, and prioritizing electrification wherever feasible.</a:t>
            </a:r>
          </a:p>
          <a:p>
            <a:pPr marL="0" indent="0">
              <a:buNone/>
            </a:pPr>
            <a:r>
              <a:rPr lang="en-US" sz="1500" b="1" dirty="0"/>
              <a:t>Air Monitoring and Leak Detection Procedures</a:t>
            </a:r>
          </a:p>
          <a:p>
            <a:pPr>
              <a:lnSpc>
                <a:spcPct val="100000"/>
              </a:lnSpc>
            </a:pPr>
            <a:r>
              <a:rPr lang="en-US" sz="1400" dirty="0"/>
              <a:t>During drilling, completion, and production operations, regular Auditory, Visual, and Olfactory Monitoring (AVO) inspections are performed on equipment containing hydrocarbons, fluids, or associated chemicals. AVO inspections include taking the time to look, smell and listen for leaks. </a:t>
            </a:r>
          </a:p>
          <a:p>
            <a:pPr>
              <a:lnSpc>
                <a:spcPct val="100000"/>
              </a:lnSpc>
            </a:pPr>
            <a:r>
              <a:rPr lang="en-US" sz="1400" dirty="0"/>
              <a:t>Crestone has developed a robust Leak Detection and Repair (LDAR) program, which utilizes Forward Looking Infrared (FLIR®) cameras to identify and fix leaks. These inspections will begin during the drilling phase and continue throughout the life of the Oil &amp; Gas Location.</a:t>
            </a:r>
          </a:p>
          <a:p>
            <a:pPr>
              <a:lnSpc>
                <a:spcPct val="100000"/>
              </a:lnSpc>
            </a:pPr>
            <a:r>
              <a:rPr lang="en-US" sz="1400" dirty="0"/>
              <a:t>An Air Monitoring plan will be reviewed and approved by both the Colorado Department of Public Health and Environment (CDPHE).</a:t>
            </a:r>
          </a:p>
          <a:p>
            <a:pPr marL="0" indent="0">
              <a:buNone/>
            </a:pPr>
            <a:endParaRPr lang="en-US" dirty="0"/>
          </a:p>
        </p:txBody>
      </p:sp>
      <p:sp>
        <p:nvSpPr>
          <p:cNvPr id="4" name="Slide Number Placeholder 3">
            <a:extLst>
              <a:ext uri="{FF2B5EF4-FFF2-40B4-BE49-F238E27FC236}">
                <a16:creationId xmlns:a16="http://schemas.microsoft.com/office/drawing/2014/main" id="{1043233D-A042-0520-6853-06DE7C72C33B}"/>
              </a:ext>
            </a:extLst>
          </p:cNvPr>
          <p:cNvSpPr>
            <a:spLocks noGrp="1"/>
          </p:cNvSpPr>
          <p:nvPr>
            <p:ph type="sldNum" sz="quarter" idx="11"/>
          </p:nvPr>
        </p:nvSpPr>
        <p:spPr/>
        <p:txBody>
          <a:bodyPr/>
          <a:lstStyle/>
          <a:p>
            <a:fld id="{E12A10EF-65F5-415A-B4AC-FF5E1BACB397}" type="slidenum">
              <a:rPr lang="en-US" smtClean="0"/>
              <a:pPr/>
              <a:t>11</a:t>
            </a:fld>
            <a:endParaRPr lang="en-US"/>
          </a:p>
        </p:txBody>
      </p:sp>
    </p:spTree>
    <p:extLst>
      <p:ext uri="{BB962C8B-B14F-4D97-AF65-F5344CB8AC3E}">
        <p14:creationId xmlns:p14="http://schemas.microsoft.com/office/powerpoint/2010/main" val="3468929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Mitigation and BMPs (continued)</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349621"/>
            <a:ext cx="11201400" cy="5008562"/>
          </a:xfrm>
        </p:spPr>
        <p:txBody>
          <a:bodyPr>
            <a:normAutofit/>
          </a:bodyPr>
          <a:lstStyle/>
          <a:p>
            <a:pPr marL="0" indent="0">
              <a:buNone/>
            </a:pPr>
            <a:r>
              <a:rPr lang="en-IN" sz="1600" b="1" dirty="0"/>
              <a:t>Noise</a:t>
            </a:r>
          </a:p>
          <a:p>
            <a:r>
              <a:rPr lang="en-US" sz="1400" dirty="0"/>
              <a:t>A noise mitigation plan will be submitted to Arapahoe County as a part this application.</a:t>
            </a:r>
          </a:p>
          <a:p>
            <a:r>
              <a:rPr lang="en-US" sz="1400" dirty="0"/>
              <a:t>Crestone shall provide a 24-hour contact number for noise complaints on the facility sign required in section 5-3.6.F.3.h of Arapahoe County Oil and Gas Regulations, as well as the ECMC’s complaint hotline number.</a:t>
            </a:r>
          </a:p>
          <a:p>
            <a:r>
              <a:rPr lang="en-US" sz="1400" dirty="0"/>
              <a:t>Crestone  will utilize a quiet completion fleet during completion operations to help minimize noise originating from the location. </a:t>
            </a:r>
          </a:p>
          <a:p>
            <a:r>
              <a:rPr lang="en-US" sz="1400" dirty="0"/>
              <a:t>Unnecessary sounds such as honking the horn, revving vehicle engines, loud music, and unwarranted metal hammering/banging are all examples of sound that can create nuisance; failure to eliminate unnecessary sound from location will be subject to an internal compliance assessment if reported by a landowner.</a:t>
            </a:r>
          </a:p>
          <a:p>
            <a:r>
              <a:rPr lang="en-US" sz="1400" dirty="0"/>
              <a:t>Idling Equipment – While idling engine/equipment, maintain at the lowest frequency possible, as well as, in a position/location that will prevent sound from carrying to nearby residents.</a:t>
            </a:r>
            <a:endParaRPr lang="en-IN" sz="1400" dirty="0"/>
          </a:p>
          <a:p>
            <a:pPr marL="0" indent="0">
              <a:buNone/>
            </a:pPr>
            <a:r>
              <a:rPr lang="en-IN" sz="1600" b="1" dirty="0"/>
              <a:t>Light</a:t>
            </a:r>
          </a:p>
          <a:p>
            <a:r>
              <a:rPr lang="en-IN" sz="1400" dirty="0"/>
              <a:t>Lighting shall be pointed inward and downward.</a:t>
            </a:r>
          </a:p>
          <a:p>
            <a:r>
              <a:rPr lang="en-IN" sz="1400" dirty="0"/>
              <a:t>No permanent lighting shall be installed on the location.</a:t>
            </a:r>
          </a:p>
          <a:p>
            <a:r>
              <a:rPr lang="en-US" sz="1400" dirty="0"/>
              <a:t>At move-in, rig-up, and regularly during Drilling and Completion phases, Crestone will routinely walk around the outside of the disturbance area to identify and reduce obtrusive lighting from leaving the site where possible.</a:t>
            </a:r>
            <a:endParaRPr lang="en-IN" sz="1400" dirty="0"/>
          </a:p>
          <a:p>
            <a:pPr marL="0" indent="0">
              <a:buNone/>
            </a:pPr>
            <a:endParaRPr lang="en-IN" sz="1400" dirty="0"/>
          </a:p>
          <a:p>
            <a:endParaRPr lang="en-IN" sz="1400" dirty="0"/>
          </a:p>
          <a:p>
            <a:pPr marL="0" indent="0">
              <a:buNone/>
            </a:pPr>
            <a:endParaRPr lang="en-IN" sz="1400" dirty="0"/>
          </a:p>
          <a:p>
            <a:endParaRPr lang="en-US" sz="1400" dirty="0"/>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2</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2490381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Mitigation and BMPs (continued)</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349621"/>
            <a:ext cx="11201400" cy="5008562"/>
          </a:xfrm>
        </p:spPr>
        <p:txBody>
          <a:bodyPr>
            <a:normAutofit lnSpcReduction="10000"/>
          </a:bodyPr>
          <a:lstStyle/>
          <a:p>
            <a:pPr marL="0" indent="0">
              <a:buNone/>
            </a:pPr>
            <a:r>
              <a:rPr lang="en-IN" sz="1600" b="1" dirty="0"/>
              <a:t>Odor</a:t>
            </a:r>
          </a:p>
          <a:p>
            <a:pPr>
              <a:lnSpc>
                <a:spcPct val="110000"/>
              </a:lnSpc>
            </a:pPr>
            <a:r>
              <a:rPr lang="en-US" sz="1400" dirty="0">
                <a:ea typeface="Calibri" panose="020F0502020204030204" pitchFamily="34" charset="0"/>
                <a:cs typeface="Times New Roman" panose="02020603050405020304" pitchFamily="18" charset="0"/>
              </a:rPr>
              <a:t>All drilling fluids are routed through a closed loop system.</a:t>
            </a:r>
          </a:p>
          <a:p>
            <a:pPr>
              <a:lnSpc>
                <a:spcPct val="110000"/>
              </a:lnSpc>
              <a:spcBef>
                <a:spcPts val="600"/>
              </a:spcBef>
            </a:pPr>
            <a:r>
              <a:rPr lang="en-US" sz="1400" dirty="0">
                <a:ea typeface="Calibri" panose="020F0502020204030204" pitchFamily="34" charset="0"/>
                <a:cs typeface="Times New Roman" panose="02020603050405020304" pitchFamily="18" charset="0"/>
              </a:rPr>
              <a:t>Will employ IOGP Group III – oil-based mud and odorless (no BTEX).</a:t>
            </a:r>
          </a:p>
          <a:p>
            <a:pPr>
              <a:lnSpc>
                <a:spcPct val="110000"/>
              </a:lnSpc>
              <a:spcBef>
                <a:spcPts val="500"/>
              </a:spcBef>
            </a:pPr>
            <a:r>
              <a:rPr lang="en-US" sz="1400" dirty="0">
                <a:effectLst/>
                <a:ea typeface="Calibri" panose="020F0502020204030204" pitchFamily="34" charset="0"/>
                <a:cs typeface="Times New Roman" panose="02020603050405020304" pitchFamily="18" charset="0"/>
              </a:rPr>
              <a:t>No open earthen pits will be used to store fluids or drill cuttings.</a:t>
            </a:r>
          </a:p>
          <a:p>
            <a:pPr marL="0" indent="0">
              <a:buNone/>
            </a:pPr>
            <a:r>
              <a:rPr lang="en-US" sz="1600" b="1" dirty="0">
                <a:effectLst/>
                <a:ea typeface="Calibri" panose="020F0502020204030204" pitchFamily="34" charset="0"/>
                <a:cs typeface="Times New Roman" panose="02020603050405020304" pitchFamily="18" charset="0"/>
              </a:rPr>
              <a:t>Dust</a:t>
            </a:r>
            <a:endParaRPr lang="en-US" sz="1600" dirty="0">
              <a:effectLst/>
              <a:latin typeface="-apple-system"/>
            </a:endParaRPr>
          </a:p>
          <a:p>
            <a:pPr rtl="0">
              <a:lnSpc>
                <a:spcPct val="100000"/>
              </a:lnSpc>
            </a:pPr>
            <a:r>
              <a:rPr lang="en-US" sz="1400" dirty="0">
                <a:effectLst/>
                <a:latin typeface="+mn-lt"/>
              </a:rPr>
              <a:t>Dust suppression during initial construction will be accomplished by the application of freshwater to the access road(s) and exposed earthen surfaces to reduce the transportability of dust when atmospheric conditions are conducive to sustained winds and/or periodic gusts. All dust suppression efforts will consist of only freshwater unless otherwise requested and approved as applicable.</a:t>
            </a:r>
          </a:p>
          <a:p>
            <a:pPr rtl="0">
              <a:lnSpc>
                <a:spcPct val="100000"/>
              </a:lnSpc>
            </a:pPr>
            <a:r>
              <a:rPr lang="en-US" sz="1400" dirty="0">
                <a:effectLst/>
                <a:latin typeface="+mn-lt"/>
              </a:rPr>
              <a:t>To minimize sand-related dust emissions, the Crestone will be utilizing containerized box technology for sand transport, storage and use during the completions phase. These sand containers (or “sand boxes”) are sealed containers that protect the sand from exposure to wind and prevent dust generation.</a:t>
            </a:r>
          </a:p>
          <a:p>
            <a:pPr rtl="0">
              <a:lnSpc>
                <a:spcPct val="100000"/>
              </a:lnSpc>
            </a:pPr>
            <a:r>
              <a:rPr lang="en-US" sz="1400" dirty="0">
                <a:effectLst/>
                <a:latin typeface="+mn-lt"/>
              </a:rPr>
              <a:t>Crestone will post an access road speed limit not to exceed 20 miles per hour to minimize fugitive dust emissions from vehicle traffic traveling on the access road.</a:t>
            </a:r>
          </a:p>
          <a:p>
            <a:pPr rtl="0">
              <a:lnSpc>
                <a:spcPct val="100000"/>
              </a:lnSpc>
            </a:pPr>
            <a:r>
              <a:rPr lang="en-US" sz="1400" dirty="0">
                <a:effectLst/>
                <a:latin typeface="+mn-lt"/>
              </a:rPr>
              <a:t>Crestone will perform regular inspections and road maintenance to ensure the integrity of the access road and associated features is maintained throughout the life of this project. Maintenance consists of re-compacting the road base/recycled asphalt mix on an as-needed basis.</a:t>
            </a:r>
          </a:p>
          <a:p>
            <a:pPr rtl="0">
              <a:lnSpc>
                <a:spcPct val="100000"/>
              </a:lnSpc>
            </a:pPr>
            <a:r>
              <a:rPr lang="en-US" sz="1400" dirty="0">
                <a:effectLst/>
                <a:latin typeface="+mn-lt"/>
              </a:rPr>
              <a:t>Crestone will install and maintain vehicle tracking controls (i.e., coarse aggregate, a tracking pad, paved apron, or cattle guard) to further reduce and remove loose mud and dirt on construction equipment and vehicles servicing location.</a:t>
            </a:r>
          </a:p>
          <a:p>
            <a:pPr marL="0" indent="0">
              <a:buNone/>
            </a:pPr>
            <a:endParaRPr lang="en-US" sz="1400" dirty="0">
              <a:effectLst/>
              <a:ea typeface="Calibri" panose="020F0502020204030204" pitchFamily="34" charset="0"/>
              <a:cs typeface="Times New Roman" panose="02020603050405020304" pitchFamily="18" charset="0"/>
            </a:endParaRPr>
          </a:p>
          <a:p>
            <a:pPr marL="0" indent="0">
              <a:buNone/>
            </a:pPr>
            <a:endParaRPr lang="en-US" sz="1400" dirty="0">
              <a:effectLst/>
              <a:ea typeface="Calibri" panose="020F0502020204030204" pitchFamily="34" charset="0"/>
              <a:cs typeface="Times New Roman" panose="02020603050405020304" pitchFamily="18" charset="0"/>
            </a:endParaRPr>
          </a:p>
          <a:p>
            <a:pPr marL="0" indent="0">
              <a:buNone/>
            </a:pPr>
            <a:endParaRPr lang="en-US" sz="1400" dirty="0">
              <a:effectLst/>
              <a:ea typeface="Calibri" panose="020F0502020204030204" pitchFamily="34" charset="0"/>
              <a:cs typeface="Times New Roman" panose="02020603050405020304" pitchFamily="18" charset="0"/>
            </a:endParaRPr>
          </a:p>
          <a:p>
            <a:endParaRPr lang="en-US" sz="1400" dirty="0">
              <a:effectLst/>
              <a:ea typeface="Calibri" panose="020F0502020204030204" pitchFamily="34" charset="0"/>
              <a:cs typeface="Times New Roman" panose="02020603050405020304" pitchFamily="18" charset="0"/>
            </a:endParaRPr>
          </a:p>
          <a:p>
            <a:endParaRPr lang="en-IN" sz="1400" dirty="0">
              <a:highlight>
                <a:srgbClr val="FFFF00"/>
              </a:highlight>
            </a:endParaRPr>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3</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5243961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C59E0-7592-FDF3-8488-3052C23EA1F3}"/>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C52E02B-8622-A961-130D-EC6141209C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AC52E02B-8622-A961-130D-EC6141209C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96B97B6-D85F-5AFC-DF3A-165B7F1E6AE1}"/>
              </a:ext>
            </a:extLst>
          </p:cNvPr>
          <p:cNvSpPr>
            <a:spLocks noGrp="1"/>
          </p:cNvSpPr>
          <p:nvPr>
            <p:ph type="title"/>
          </p:nvPr>
        </p:nvSpPr>
        <p:spPr/>
        <p:txBody>
          <a:bodyPr vert="horz">
            <a:normAutofit/>
          </a:bodyPr>
          <a:lstStyle/>
          <a:p>
            <a:r>
              <a:rPr lang="en-US" dirty="0"/>
              <a:t>Mitigation and BMPs (continued)</a:t>
            </a:r>
          </a:p>
        </p:txBody>
      </p:sp>
      <p:sp>
        <p:nvSpPr>
          <p:cNvPr id="6" name="Content Placeholder 5">
            <a:extLst>
              <a:ext uri="{FF2B5EF4-FFF2-40B4-BE49-F238E27FC236}">
                <a16:creationId xmlns:a16="http://schemas.microsoft.com/office/drawing/2014/main" id="{352CBAE7-FCEC-0AC0-1136-C8AB849CEF54}"/>
              </a:ext>
            </a:extLst>
          </p:cNvPr>
          <p:cNvSpPr>
            <a:spLocks noGrp="1"/>
          </p:cNvSpPr>
          <p:nvPr>
            <p:ph idx="1"/>
          </p:nvPr>
        </p:nvSpPr>
        <p:spPr>
          <a:xfrm>
            <a:off x="495300" y="1349621"/>
            <a:ext cx="11201400" cy="5008562"/>
          </a:xfrm>
        </p:spPr>
        <p:txBody>
          <a:bodyPr>
            <a:normAutofit/>
          </a:bodyPr>
          <a:lstStyle/>
          <a:p>
            <a:pPr marL="0" indent="0">
              <a:lnSpc>
                <a:spcPct val="100000"/>
              </a:lnSpc>
              <a:buNone/>
            </a:pPr>
            <a:r>
              <a:rPr lang="en-IN" sz="1600" b="1" dirty="0"/>
              <a:t>Traffic </a:t>
            </a:r>
          </a:p>
          <a:p>
            <a:pPr>
              <a:lnSpc>
                <a:spcPct val="100000"/>
              </a:lnSpc>
            </a:pPr>
            <a:r>
              <a:rPr lang="en-IN" sz="1400" dirty="0"/>
              <a:t>Crestone must use the approved traffic haul route. </a:t>
            </a:r>
          </a:p>
          <a:p>
            <a:pPr>
              <a:lnSpc>
                <a:spcPct val="100000"/>
              </a:lnSpc>
            </a:pPr>
            <a:r>
              <a:rPr lang="en-IN" sz="1400" dirty="0"/>
              <a:t>Traffic impact fees will be paid to Arapahoe County.</a:t>
            </a:r>
          </a:p>
          <a:p>
            <a:pPr>
              <a:lnSpc>
                <a:spcPct val="100000"/>
              </a:lnSpc>
            </a:pPr>
            <a:r>
              <a:rPr lang="en-IN" sz="1400" dirty="0"/>
              <a:t>Water will be provided to the site via above ground pipeline for drilling and completions.</a:t>
            </a:r>
          </a:p>
          <a:p>
            <a:pPr>
              <a:lnSpc>
                <a:spcPct val="100000"/>
              </a:lnSpc>
            </a:pPr>
            <a:r>
              <a:rPr lang="en-IN" sz="1400" dirty="0"/>
              <a:t>A Traffic Impact Study will be included with  this application.</a:t>
            </a:r>
          </a:p>
          <a:p>
            <a:pPr>
              <a:lnSpc>
                <a:spcPct val="100000"/>
              </a:lnSpc>
            </a:pPr>
            <a:r>
              <a:rPr lang="en-US" sz="1400" dirty="0"/>
              <a:t>Oil and gas pipeline will be in place at the start of the Production phase to reduce truck traffic.</a:t>
            </a:r>
            <a:endParaRPr lang="en-IN" sz="1400" dirty="0"/>
          </a:p>
          <a:p>
            <a:pPr marL="0" indent="0">
              <a:lnSpc>
                <a:spcPct val="100000"/>
              </a:lnSpc>
              <a:buNone/>
            </a:pPr>
            <a:r>
              <a:rPr lang="en-US" sz="1600" b="1" dirty="0">
                <a:effectLst/>
                <a:ea typeface="Calibri" panose="020F0502020204030204" pitchFamily="34" charset="0"/>
                <a:cs typeface="Times New Roman" panose="02020603050405020304" pitchFamily="18" charset="0"/>
              </a:rPr>
              <a:t>Lightning Mitigation</a:t>
            </a:r>
          </a:p>
          <a:p>
            <a:pPr>
              <a:lnSpc>
                <a:spcPct val="100000"/>
              </a:lnSpc>
            </a:pPr>
            <a:r>
              <a:rPr lang="en-US" sz="1400" dirty="0">
                <a:effectLst/>
                <a:ea typeface="Calibri" panose="020F0502020204030204" pitchFamily="34" charset="0"/>
                <a:cs typeface="Times New Roman" panose="02020603050405020304" pitchFamily="18" charset="0"/>
              </a:rPr>
              <a:t>All permanent equipment onsite will be connected to an underground steel grounding grid.</a:t>
            </a:r>
          </a:p>
          <a:p>
            <a:pPr marL="0" indent="0">
              <a:lnSpc>
                <a:spcPct val="100000"/>
              </a:lnSpc>
              <a:buNone/>
            </a:pPr>
            <a:r>
              <a:rPr lang="en-US" sz="1600" b="1" dirty="0">
                <a:effectLst/>
                <a:ea typeface="Calibri" panose="020F0502020204030204" pitchFamily="34" charset="0"/>
                <a:cs typeface="Times New Roman" panose="02020603050405020304" pitchFamily="18" charset="0"/>
              </a:rPr>
              <a:t>Visual</a:t>
            </a:r>
          </a:p>
          <a:p>
            <a:pPr>
              <a:lnSpc>
                <a:spcPct val="100000"/>
              </a:lnSpc>
            </a:pPr>
            <a:r>
              <a:rPr lang="en-US" sz="1400" dirty="0">
                <a:effectLst/>
                <a:ea typeface="Calibri" panose="020F0502020204030204" pitchFamily="34" charset="0"/>
                <a:cs typeface="Times New Roman" panose="02020603050405020304" pitchFamily="18" charset="0"/>
              </a:rPr>
              <a:t>Location and access road shall be free of identified noxious weeds throughout operations.</a:t>
            </a:r>
          </a:p>
          <a:p>
            <a:pPr marL="0" indent="0">
              <a:lnSpc>
                <a:spcPct val="100000"/>
              </a:lnSpc>
              <a:buNone/>
            </a:pPr>
            <a:r>
              <a:rPr lang="en-US" sz="1600" b="1" dirty="0"/>
              <a:t>Wildlife and nearby High Priority Habitat (HPH)</a:t>
            </a:r>
          </a:p>
          <a:p>
            <a:pPr>
              <a:lnSpc>
                <a:spcPct val="100000"/>
              </a:lnSpc>
            </a:pPr>
            <a:r>
              <a:rPr lang="en-US" sz="1400" dirty="0"/>
              <a:t>Crestone will coordinate with Colorado Parks &amp; Wildlife (CPW) regarding operations within HPH and will implement CPW recommendations to reduce HPH impacts.</a:t>
            </a:r>
          </a:p>
          <a:p>
            <a:pPr marL="0" indent="0">
              <a:buNone/>
            </a:pPr>
            <a:endParaRPr lang="en-US" sz="1400" dirty="0">
              <a:effectLst/>
              <a:ea typeface="Calibri" panose="020F0502020204030204" pitchFamily="34" charset="0"/>
              <a:cs typeface="Times New Roman" panose="02020603050405020304" pitchFamily="18" charset="0"/>
            </a:endParaRPr>
          </a:p>
          <a:p>
            <a:endParaRPr lang="en-US" sz="1400" dirty="0">
              <a:effectLst/>
              <a:ea typeface="Calibri" panose="020F0502020204030204" pitchFamily="34" charset="0"/>
              <a:cs typeface="Times New Roman" panose="02020603050405020304" pitchFamily="18" charset="0"/>
            </a:endParaRPr>
          </a:p>
          <a:p>
            <a:endParaRPr lang="en-IN" sz="1400" dirty="0">
              <a:highlight>
                <a:srgbClr val="FFFF00"/>
              </a:highlight>
            </a:endParaRPr>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5E1D9B7-BB85-ACC7-C727-9B43EAA05DA9}"/>
              </a:ext>
            </a:extLst>
          </p:cNvPr>
          <p:cNvSpPr>
            <a:spLocks noGrp="1"/>
          </p:cNvSpPr>
          <p:nvPr>
            <p:ph type="sldNum" sz="quarter" idx="11"/>
          </p:nvPr>
        </p:nvSpPr>
        <p:spPr/>
        <p:txBody>
          <a:bodyPr/>
          <a:lstStyle/>
          <a:p>
            <a:fld id="{E12A10EF-65F5-415A-B4AC-FF5E1BACB397}" type="slidenum">
              <a:rPr lang="en-US" smtClean="0"/>
              <a:pPr/>
              <a:t>14</a:t>
            </a:fld>
            <a:endParaRPr lang="en-US"/>
          </a:p>
        </p:txBody>
      </p:sp>
      <p:grpSp>
        <p:nvGrpSpPr>
          <p:cNvPr id="7" name="Group 6">
            <a:extLst>
              <a:ext uri="{FF2B5EF4-FFF2-40B4-BE49-F238E27FC236}">
                <a16:creationId xmlns:a16="http://schemas.microsoft.com/office/drawing/2014/main" id="{EFC4AA74-37D1-B3FF-9BAB-FA532DB84BE1}"/>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13A58A8C-409F-3185-FBDA-2292655F84F4}"/>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EC0B2B5-59D6-160A-C162-7E728D157885}"/>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0AB8C3E-856E-6A1F-9783-42A377877D1C}"/>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181241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Current Permit Statu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5</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906514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Permit Statu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440810"/>
            <a:ext cx="11201400" cy="5008562"/>
          </a:xfrm>
        </p:spPr>
        <p:txBody>
          <a:bodyPr>
            <a:normAutofit/>
          </a:bodyPr>
          <a:lstStyle/>
          <a:p>
            <a:pPr marL="0" indent="0">
              <a:buNone/>
            </a:pPr>
            <a:r>
              <a:rPr lang="en-IN" sz="2000" b="1" u="sng" dirty="0"/>
              <a:t>Arapahoe County</a:t>
            </a:r>
            <a:endParaRPr lang="en-IN" sz="2000" b="1" dirty="0"/>
          </a:p>
          <a:p>
            <a:pPr marL="0" indent="0">
              <a:buNone/>
            </a:pPr>
            <a:r>
              <a:rPr lang="en-IN" sz="2000" dirty="0"/>
              <a:t>	Administrative Energy Use by Special Review (AEUSR)</a:t>
            </a:r>
          </a:p>
          <a:p>
            <a:pPr marL="0" indent="0">
              <a:buNone/>
            </a:pPr>
            <a:r>
              <a:rPr lang="en-IN" sz="2000" dirty="0"/>
              <a:t>		- Not yet filed</a:t>
            </a:r>
            <a:endParaRPr lang="en-IN" sz="2000" dirty="0">
              <a:highlight>
                <a:srgbClr val="FFFF00"/>
              </a:highlight>
            </a:endParaRPr>
          </a:p>
          <a:p>
            <a:pPr marL="0" indent="0">
              <a:buNone/>
            </a:pPr>
            <a:r>
              <a:rPr lang="en-IN" sz="2000" b="1" u="sng" dirty="0"/>
              <a:t>ECMC</a:t>
            </a:r>
          </a:p>
          <a:p>
            <a:pPr marL="0" indent="0">
              <a:buNone/>
            </a:pPr>
            <a:r>
              <a:rPr lang="en-IN" sz="2000" dirty="0"/>
              <a:t>	CAP</a:t>
            </a:r>
          </a:p>
          <a:p>
            <a:pPr marL="0" indent="0">
              <a:buNone/>
            </a:pPr>
            <a:r>
              <a:rPr lang="en-IN" sz="2000" dirty="0"/>
              <a:t>		- In Process, anticipated hearing June 2024</a:t>
            </a:r>
          </a:p>
          <a:p>
            <a:pPr marL="0" indent="0">
              <a:buNone/>
            </a:pPr>
            <a:r>
              <a:rPr lang="en-IN" sz="2000" dirty="0"/>
              <a:t>	OGDP/Form 2A (Location Assessment)  </a:t>
            </a:r>
          </a:p>
          <a:p>
            <a:pPr marL="0" indent="0">
              <a:buNone/>
            </a:pPr>
            <a:r>
              <a:rPr lang="en-IN" sz="2000" dirty="0"/>
              <a:t>		- Not yet filed</a:t>
            </a:r>
          </a:p>
          <a:p>
            <a:pPr marL="0" indent="0" algn="l">
              <a:buNone/>
            </a:pPr>
            <a:r>
              <a:rPr lang="en-IN" sz="2000" dirty="0"/>
              <a:t>	Form 2s (Well Permits) </a:t>
            </a:r>
          </a:p>
          <a:p>
            <a:pPr marL="0" indent="0" algn="l">
              <a:buNone/>
            </a:pPr>
            <a:r>
              <a:rPr lang="en-IN" sz="2000" dirty="0"/>
              <a:t>		- </a:t>
            </a:r>
            <a:r>
              <a:rPr lang="en-US" sz="2000" dirty="0">
                <a:latin typeface="+mn-lt"/>
              </a:rPr>
              <a:t>Not yet filed</a:t>
            </a:r>
            <a:endParaRPr lang="en-IN" sz="2000" dirty="0">
              <a:latin typeface="+mn-l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6</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164689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Contact Information</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7</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076785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Company Contact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p:txBody>
          <a:bodyPr>
            <a:normAutofit/>
          </a:bodyPr>
          <a:lstStyle/>
          <a:p>
            <a:pPr marL="0" indent="0">
              <a:buNone/>
            </a:pPr>
            <a:endParaRPr lang="en-IN" sz="2000">
              <a:highlight>
                <a:srgbClr val="FFFF00"/>
              </a:highlight>
            </a:endParaRPr>
          </a:p>
          <a:p>
            <a:pPr marL="0" indent="0">
              <a:buNone/>
            </a:pPr>
            <a:r>
              <a:rPr lang="en-IN" sz="2000"/>
              <a:t>Dan Harrington</a:t>
            </a:r>
          </a:p>
          <a:p>
            <a:pPr marL="0" indent="0">
              <a:buNone/>
            </a:pPr>
            <a:r>
              <a:rPr lang="en-IN" sz="2000"/>
              <a:t>Asset Development Lead</a:t>
            </a:r>
          </a:p>
          <a:p>
            <a:pPr marL="0" indent="0">
              <a:buNone/>
            </a:pPr>
            <a:r>
              <a:rPr lang="en-IN" sz="2000"/>
              <a:t>Email:  lowryranchcap@civiresources.com</a:t>
            </a:r>
            <a:endParaRPr lang="en-IN" sz="2000">
              <a:highlight>
                <a:srgbClr val="FFFF00"/>
              </a:highlight>
            </a:endParaRPr>
          </a:p>
          <a:p>
            <a:pPr marL="0" indent="0">
              <a:buNone/>
            </a:pPr>
            <a:endParaRPr lang="en-IN" sz="2000">
              <a:highlight>
                <a:srgbClr val="FFFF00"/>
              </a:highlight>
            </a:endParaRPr>
          </a:p>
          <a:p>
            <a:pPr marL="0" indent="0">
              <a:buNone/>
            </a:pPr>
            <a:endParaRPr lang="en-IN" sz="200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8</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29048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Question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9</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6619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3531F95-F89A-4EBE-A744-14990646E9F2}"/>
              </a:ext>
            </a:extLst>
          </p:cNvPr>
          <p:cNvSpPr>
            <a:spLocks noGrp="1"/>
          </p:cNvSpPr>
          <p:nvPr>
            <p:ph type="sldNum" sz="quarter" idx="11"/>
          </p:nvPr>
        </p:nvSpPr>
        <p:spPr/>
        <p:txBody>
          <a:bodyPr/>
          <a:lstStyle/>
          <a:p>
            <a:fld id="{E12A10EF-65F5-415A-B4AC-FF5E1BACB397}" type="slidenum">
              <a:rPr lang="en-US" smtClean="0"/>
              <a:pPr/>
              <a:t>2</a:t>
            </a:fld>
            <a:endParaRPr lang="en-US"/>
          </a:p>
        </p:txBody>
      </p:sp>
      <p:sp>
        <p:nvSpPr>
          <p:cNvPr id="29" name="Rectangle 28">
            <a:extLst>
              <a:ext uri="{FF2B5EF4-FFF2-40B4-BE49-F238E27FC236}">
                <a16:creationId xmlns:a16="http://schemas.microsoft.com/office/drawing/2014/main" id="{B191C227-E168-4A99-964D-347D14FB66DB}"/>
              </a:ext>
            </a:extLst>
          </p:cNvPr>
          <p:cNvSpPr/>
          <p:nvPr/>
        </p:nvSpPr>
        <p:spPr>
          <a:xfrm>
            <a:off x="5616572" y="1373414"/>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Who We are</a:t>
            </a:r>
          </a:p>
        </p:txBody>
      </p:sp>
      <p:sp>
        <p:nvSpPr>
          <p:cNvPr id="30" name="Rectangle 29">
            <a:extLst>
              <a:ext uri="{FF2B5EF4-FFF2-40B4-BE49-F238E27FC236}">
                <a16:creationId xmlns:a16="http://schemas.microsoft.com/office/drawing/2014/main" id="{BD43B5D4-F9D5-45E4-9A2C-5923D2F43B67}"/>
              </a:ext>
            </a:extLst>
          </p:cNvPr>
          <p:cNvSpPr/>
          <p:nvPr/>
        </p:nvSpPr>
        <p:spPr>
          <a:xfrm>
            <a:off x="5616572" y="2181133"/>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Project Information</a:t>
            </a:r>
          </a:p>
        </p:txBody>
      </p:sp>
      <p:sp>
        <p:nvSpPr>
          <p:cNvPr id="31" name="Rectangle 30">
            <a:extLst>
              <a:ext uri="{FF2B5EF4-FFF2-40B4-BE49-F238E27FC236}">
                <a16:creationId xmlns:a16="http://schemas.microsoft.com/office/drawing/2014/main" id="{4F425EFB-C000-4C69-A915-FCC34116ABD7}"/>
              </a:ext>
            </a:extLst>
          </p:cNvPr>
          <p:cNvSpPr/>
          <p:nvPr/>
        </p:nvSpPr>
        <p:spPr>
          <a:xfrm>
            <a:off x="5616572" y="2988852"/>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Planned Mitigation Measures</a:t>
            </a:r>
          </a:p>
        </p:txBody>
      </p:sp>
      <p:sp>
        <p:nvSpPr>
          <p:cNvPr id="32" name="Rectangle 31">
            <a:extLst>
              <a:ext uri="{FF2B5EF4-FFF2-40B4-BE49-F238E27FC236}">
                <a16:creationId xmlns:a16="http://schemas.microsoft.com/office/drawing/2014/main" id="{346ADABB-0F4F-45E3-B01C-1EE7CA73A4F9}"/>
              </a:ext>
            </a:extLst>
          </p:cNvPr>
          <p:cNvSpPr/>
          <p:nvPr/>
        </p:nvSpPr>
        <p:spPr>
          <a:xfrm>
            <a:off x="5616572" y="3796571"/>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Current Permit Status</a:t>
            </a:r>
          </a:p>
        </p:txBody>
      </p:sp>
      <p:sp>
        <p:nvSpPr>
          <p:cNvPr id="33" name="Rectangle 32">
            <a:extLst>
              <a:ext uri="{FF2B5EF4-FFF2-40B4-BE49-F238E27FC236}">
                <a16:creationId xmlns:a16="http://schemas.microsoft.com/office/drawing/2014/main" id="{99410FFB-33AE-4F2D-A446-D9D2F34B7463}"/>
              </a:ext>
            </a:extLst>
          </p:cNvPr>
          <p:cNvSpPr/>
          <p:nvPr/>
        </p:nvSpPr>
        <p:spPr>
          <a:xfrm>
            <a:off x="5616572" y="4604290"/>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Contact Information</a:t>
            </a:r>
          </a:p>
        </p:txBody>
      </p:sp>
      <p:sp>
        <p:nvSpPr>
          <p:cNvPr id="34" name="Rectangle 33">
            <a:extLst>
              <a:ext uri="{FF2B5EF4-FFF2-40B4-BE49-F238E27FC236}">
                <a16:creationId xmlns:a16="http://schemas.microsoft.com/office/drawing/2014/main" id="{7416A942-17B9-470B-9F7C-E0B7679C816D}"/>
              </a:ext>
            </a:extLst>
          </p:cNvPr>
          <p:cNvSpPr/>
          <p:nvPr/>
        </p:nvSpPr>
        <p:spPr>
          <a:xfrm>
            <a:off x="5616572" y="5412014"/>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Questions</a:t>
            </a:r>
          </a:p>
        </p:txBody>
      </p:sp>
      <p:sp>
        <p:nvSpPr>
          <p:cNvPr id="24" name="Rectangle 23">
            <a:extLst>
              <a:ext uri="{FF2B5EF4-FFF2-40B4-BE49-F238E27FC236}">
                <a16:creationId xmlns:a16="http://schemas.microsoft.com/office/drawing/2014/main" id="{9004C8A9-CD88-492B-89A4-E6476BD779F8}"/>
              </a:ext>
            </a:extLst>
          </p:cNvPr>
          <p:cNvSpPr/>
          <p:nvPr/>
        </p:nvSpPr>
        <p:spPr>
          <a:xfrm>
            <a:off x="4965700" y="137341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1</a:t>
            </a:r>
          </a:p>
        </p:txBody>
      </p:sp>
      <p:sp>
        <p:nvSpPr>
          <p:cNvPr id="25" name="Rectangle 24">
            <a:extLst>
              <a:ext uri="{FF2B5EF4-FFF2-40B4-BE49-F238E27FC236}">
                <a16:creationId xmlns:a16="http://schemas.microsoft.com/office/drawing/2014/main" id="{28F10F3F-FBE4-49BB-AEBE-5554320564CA}"/>
              </a:ext>
            </a:extLst>
          </p:cNvPr>
          <p:cNvSpPr/>
          <p:nvPr/>
        </p:nvSpPr>
        <p:spPr>
          <a:xfrm>
            <a:off x="4965700" y="218113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2</a:t>
            </a:r>
          </a:p>
        </p:txBody>
      </p:sp>
      <p:sp>
        <p:nvSpPr>
          <p:cNvPr id="26" name="Rectangle 25">
            <a:extLst>
              <a:ext uri="{FF2B5EF4-FFF2-40B4-BE49-F238E27FC236}">
                <a16:creationId xmlns:a16="http://schemas.microsoft.com/office/drawing/2014/main" id="{4CC77AA2-BD96-4A5F-887D-900B342BF76D}"/>
              </a:ext>
            </a:extLst>
          </p:cNvPr>
          <p:cNvSpPr/>
          <p:nvPr/>
        </p:nvSpPr>
        <p:spPr>
          <a:xfrm>
            <a:off x="4965700" y="298885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3</a:t>
            </a:r>
          </a:p>
        </p:txBody>
      </p:sp>
      <p:sp>
        <p:nvSpPr>
          <p:cNvPr id="27" name="Rectangle 26">
            <a:extLst>
              <a:ext uri="{FF2B5EF4-FFF2-40B4-BE49-F238E27FC236}">
                <a16:creationId xmlns:a16="http://schemas.microsoft.com/office/drawing/2014/main" id="{0E8BBBA0-1F42-4466-B15B-B69E40C11C1C}"/>
              </a:ext>
            </a:extLst>
          </p:cNvPr>
          <p:cNvSpPr/>
          <p:nvPr/>
        </p:nvSpPr>
        <p:spPr>
          <a:xfrm>
            <a:off x="4965700" y="379657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4</a:t>
            </a:r>
          </a:p>
        </p:txBody>
      </p:sp>
      <p:sp>
        <p:nvSpPr>
          <p:cNvPr id="28" name="Rectangle 27">
            <a:extLst>
              <a:ext uri="{FF2B5EF4-FFF2-40B4-BE49-F238E27FC236}">
                <a16:creationId xmlns:a16="http://schemas.microsoft.com/office/drawing/2014/main" id="{161B2DE2-C547-4F46-AF02-E06A349E4BDC}"/>
              </a:ext>
            </a:extLst>
          </p:cNvPr>
          <p:cNvSpPr/>
          <p:nvPr/>
        </p:nvSpPr>
        <p:spPr>
          <a:xfrm>
            <a:off x="4965700" y="460429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5</a:t>
            </a:r>
          </a:p>
        </p:txBody>
      </p:sp>
      <p:sp>
        <p:nvSpPr>
          <p:cNvPr id="40" name="Rectangle 39">
            <a:extLst>
              <a:ext uri="{FF2B5EF4-FFF2-40B4-BE49-F238E27FC236}">
                <a16:creationId xmlns:a16="http://schemas.microsoft.com/office/drawing/2014/main" id="{193A7991-6441-45D8-9A4E-FF41486FAF30}"/>
              </a:ext>
            </a:extLst>
          </p:cNvPr>
          <p:cNvSpPr/>
          <p:nvPr/>
        </p:nvSpPr>
        <p:spPr>
          <a:xfrm>
            <a:off x="4965700" y="541201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6</a:t>
            </a:r>
          </a:p>
        </p:txBody>
      </p:sp>
      <p:cxnSp>
        <p:nvCxnSpPr>
          <p:cNvPr id="44" name="Straight Connector 43">
            <a:extLst>
              <a:ext uri="{FF2B5EF4-FFF2-40B4-BE49-F238E27FC236}">
                <a16:creationId xmlns:a16="http://schemas.microsoft.com/office/drawing/2014/main" id="{F8DAD22F-EBAB-40BE-A3D7-6E19DD928163}"/>
              </a:ext>
            </a:extLst>
          </p:cNvPr>
          <p:cNvCxnSpPr>
            <a:cxnSpLocks/>
          </p:cNvCxnSpPr>
          <p:nvPr/>
        </p:nvCxnSpPr>
        <p:spPr>
          <a:xfrm>
            <a:off x="4354513" y="2149855"/>
            <a:ext cx="0" cy="3079642"/>
          </a:xfrm>
          <a:prstGeom prst="line">
            <a:avLst/>
          </a:prstGeom>
        </p:spPr>
        <p:style>
          <a:lnRef idx="1">
            <a:schemeClr val="accent1"/>
          </a:lnRef>
          <a:fillRef idx="0">
            <a:schemeClr val="accent1"/>
          </a:fillRef>
          <a:effectRef idx="0">
            <a:schemeClr val="accent1"/>
          </a:effectRef>
          <a:fontRef idx="minor">
            <a:schemeClr val="tx1"/>
          </a:fontRef>
        </p:style>
      </p:cxnSp>
      <p:sp>
        <p:nvSpPr>
          <p:cNvPr id="45" name="Title 4">
            <a:extLst>
              <a:ext uri="{FF2B5EF4-FFF2-40B4-BE49-F238E27FC236}">
                <a16:creationId xmlns:a16="http://schemas.microsoft.com/office/drawing/2014/main" id="{8ADD7714-7DF1-4456-A318-8762BEDCD9F0}"/>
              </a:ext>
            </a:extLst>
          </p:cNvPr>
          <p:cNvSpPr txBox="1">
            <a:spLocks/>
          </p:cNvSpPr>
          <p:nvPr/>
        </p:nvSpPr>
        <p:spPr>
          <a:xfrm>
            <a:off x="647701" y="3138715"/>
            <a:ext cx="3095624" cy="1103312"/>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a:lstStyle>
          <a:p>
            <a:pPr algn="r">
              <a:lnSpc>
                <a:spcPct val="100000"/>
              </a:lnSpc>
            </a:pPr>
            <a:r>
              <a:rPr lang="en-US"/>
              <a:t>Table of Contents</a:t>
            </a:r>
          </a:p>
        </p:txBody>
      </p:sp>
    </p:spTree>
    <p:extLst>
      <p:ext uri="{BB962C8B-B14F-4D97-AF65-F5344CB8AC3E}">
        <p14:creationId xmlns:p14="http://schemas.microsoft.com/office/powerpoint/2010/main" val="910404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D423DF-C2F5-4363-948C-F19CCBD79EBE}"/>
              </a:ext>
            </a:extLst>
          </p:cNvPr>
          <p:cNvSpPr>
            <a:spLocks noGrp="1"/>
          </p:cNvSpPr>
          <p:nvPr>
            <p:ph type="ctrTitle"/>
          </p:nvPr>
        </p:nvSpPr>
        <p:spPr/>
        <p:txBody>
          <a:bodyPr>
            <a:normAutofit/>
          </a:bodyPr>
          <a:lstStyle/>
          <a:p>
            <a:r>
              <a:rPr lang="en-US" sz="6600"/>
              <a:t>Thank You</a:t>
            </a:r>
          </a:p>
        </p:txBody>
      </p:sp>
      <p:sp>
        <p:nvSpPr>
          <p:cNvPr id="3" name="Slide Number Placeholder 2">
            <a:extLst>
              <a:ext uri="{FF2B5EF4-FFF2-40B4-BE49-F238E27FC236}">
                <a16:creationId xmlns:a16="http://schemas.microsoft.com/office/drawing/2014/main" id="{FDF09F26-9436-473D-9ED4-F7CB60A74330}"/>
              </a:ext>
            </a:extLst>
          </p:cNvPr>
          <p:cNvSpPr>
            <a:spLocks noGrp="1"/>
          </p:cNvSpPr>
          <p:nvPr>
            <p:ph type="sldNum" sz="quarter" idx="4294967295"/>
          </p:nvPr>
        </p:nvSpPr>
        <p:spPr>
          <a:xfrm>
            <a:off x="11009562" y="6449372"/>
            <a:ext cx="778221" cy="228600"/>
          </a:xfrm>
        </p:spPr>
        <p:txBody>
          <a:bodyPr vert="horz" lIns="91440" tIns="45720" rIns="91440" bIns="45720" rtlCol="0" anchor="ctr"/>
          <a:lstStyle/>
          <a:p>
            <a:fld id="{E12A10EF-65F5-415A-B4AC-FF5E1BACB397}" type="slidenum">
              <a:rPr lang="en-US"/>
              <a:pPr/>
              <a:t>20</a:t>
            </a:fld>
            <a:endParaRPr lang="en-US"/>
          </a:p>
        </p:txBody>
      </p:sp>
    </p:spTree>
    <p:extLst>
      <p:ext uri="{BB962C8B-B14F-4D97-AF65-F5344CB8AC3E}">
        <p14:creationId xmlns:p14="http://schemas.microsoft.com/office/powerpoint/2010/main" val="402936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08228F6-295D-4BDC-8CBC-DC67C8303F74}"/>
              </a:ext>
            </a:extLst>
          </p:cNvPr>
          <p:cNvSpPr>
            <a:spLocks noGrp="1"/>
          </p:cNvSpPr>
          <p:nvPr>
            <p:ph type="title"/>
          </p:nvPr>
        </p:nvSpPr>
        <p:spPr/>
        <p:txBody>
          <a:bodyPr/>
          <a:lstStyle/>
          <a:p>
            <a:r>
              <a:rPr lang="en-US"/>
              <a:t>Who we are</a:t>
            </a:r>
          </a:p>
        </p:txBody>
      </p:sp>
      <p:sp>
        <p:nvSpPr>
          <p:cNvPr id="2" name="Slide Number Placeholder 1">
            <a:extLst>
              <a:ext uri="{FF2B5EF4-FFF2-40B4-BE49-F238E27FC236}">
                <a16:creationId xmlns:a16="http://schemas.microsoft.com/office/drawing/2014/main" id="{0F4C2603-3216-4366-B1B8-7F085096EDA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A10EF-65F5-415A-B4AC-FF5E1BACB397}" type="slidenum">
              <a:rPr kumimoji="0" lang="en-US" sz="11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 name="Content Placeholder 7">
            <a:extLst>
              <a:ext uri="{FF2B5EF4-FFF2-40B4-BE49-F238E27FC236}">
                <a16:creationId xmlns:a16="http://schemas.microsoft.com/office/drawing/2014/main" id="{18AFB7A1-A9E3-492B-A9A6-84E183E1D0B7}"/>
              </a:ext>
            </a:extLst>
          </p:cNvPr>
          <p:cNvSpPr>
            <a:spLocks noGrp="1"/>
          </p:cNvSpPr>
          <p:nvPr>
            <p:ph idx="1"/>
          </p:nvPr>
        </p:nvSpPr>
        <p:spPr>
          <a:xfrm>
            <a:off x="586383" y="1669410"/>
            <a:ext cx="11110317" cy="5008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t">
            <a:normAutofit/>
          </a:bodyPr>
          <a:lstStyle/>
          <a:p>
            <a:r>
              <a:rPr lang="en-IN" sz="2400" i="1" dirty="0">
                <a:solidFill>
                  <a:schemeClr val="tx1"/>
                </a:solidFill>
                <a:latin typeface="Calibri" panose="020F0502020204030204" pitchFamily="34" charset="0"/>
                <a:cs typeface="Calibri" panose="020F0502020204030204" pitchFamily="34" charset="0"/>
              </a:rPr>
              <a:t>Civitas Resources, Inc. was formed in November 2021 with the merger of four Colorado operating companies</a:t>
            </a:r>
          </a:p>
          <a:p>
            <a:r>
              <a:rPr lang="en-IN" sz="2400" i="1" dirty="0">
                <a:solidFill>
                  <a:schemeClr val="tx1"/>
                </a:solidFill>
                <a:latin typeface="Calibri" panose="020F0502020204030204" pitchFamily="34" charset="0"/>
                <a:cs typeface="Calibri" panose="020F0502020204030204" pitchFamily="34" charset="0"/>
              </a:rPr>
              <a:t>Crestone Peak Resources Operating LLC is a wholly-owned subsidiary of Civitas Resources, Inc</a:t>
            </a:r>
          </a:p>
          <a:p>
            <a:r>
              <a:rPr lang="en-IN" sz="2400" i="1" dirty="0">
                <a:solidFill>
                  <a:schemeClr val="tx1"/>
                </a:solidFill>
                <a:latin typeface="Calibri" panose="020F0502020204030204" pitchFamily="34" charset="0"/>
                <a:cs typeface="Calibri" panose="020F0502020204030204" pitchFamily="34" charset="0"/>
              </a:rPr>
              <a:t>Civitas is committed to the communities where we live and operate. We proudly demonstrate this commitment through leadership in Environmental, Social, and Governance(ESG) practices and is the first Carbon neutral oil and gas producer in Colorado</a:t>
            </a:r>
          </a:p>
          <a:p>
            <a:r>
              <a:rPr lang="en-IN" sz="2400" i="1" dirty="0">
                <a:solidFill>
                  <a:schemeClr val="tx1"/>
                </a:solidFill>
                <a:latin typeface="Calibri" panose="020F0502020204030204" pitchFamily="34" charset="0"/>
                <a:cs typeface="Calibri" panose="020F0502020204030204" pitchFamily="34" charset="0"/>
              </a:rPr>
              <a:t>Civitas is utilizing best in class best management practices to protect public health, safety, welfare, and environment, including wildlife resources</a:t>
            </a:r>
          </a:p>
          <a:p>
            <a:endParaRPr lang="en-IN" i="1" dirty="0">
              <a:solidFill>
                <a:schemeClr val="tx1"/>
              </a:solidFill>
              <a:latin typeface="Century Gothic" panose="020B0502020202020204" pitchFamily="34" charset="0"/>
            </a:endParaRPr>
          </a:p>
          <a:p>
            <a:endParaRPr lang="en-IN" i="1" dirty="0">
              <a:solidFill>
                <a:schemeClr val="tx1"/>
              </a:solidFill>
              <a:latin typeface="Century Gothic" panose="020B0502020202020204" pitchFamily="34" charset="0"/>
            </a:endParaRPr>
          </a:p>
          <a:p>
            <a:endParaRPr lang="en-IN" sz="3600" i="1"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794090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Project Information</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4</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301522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Location Plans and Information</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444121"/>
            <a:ext cx="11201400" cy="5008562"/>
          </a:xfrm>
        </p:spPr>
        <p:txBody>
          <a:bodyPr>
            <a:normAutofit/>
          </a:bodyPr>
          <a:lstStyle/>
          <a:p>
            <a:pPr marL="0" indent="0" algn="l">
              <a:buNone/>
            </a:pPr>
            <a:r>
              <a:rPr lang="en-US" sz="2000" b="0" i="0" u="none" strike="noStrike" baseline="0" dirty="0">
                <a:latin typeface="Calibri" panose="020F0502020204030204" pitchFamily="34" charset="0"/>
              </a:rPr>
              <a:t>Plans</a:t>
            </a:r>
            <a:r>
              <a:rPr lang="en-US" sz="2000" b="0" i="0" u="none" strike="noStrike" baseline="0" dirty="0">
                <a:highlight>
                  <a:srgbClr val="FFFF00"/>
                </a:highlight>
                <a:latin typeface="Calibri" panose="020F0502020204030204" pitchFamily="34" charset="0"/>
              </a:rPr>
              <a:t> </a:t>
            </a:r>
          </a:p>
          <a:p>
            <a:r>
              <a:rPr lang="en-US" sz="1600" b="0" i="0" u="none" strike="noStrike" baseline="0" dirty="0">
                <a:latin typeface="Calibri" panose="020F0502020204030204" pitchFamily="34" charset="0"/>
              </a:rPr>
              <a:t>We plan to drill up to </a:t>
            </a:r>
            <a:r>
              <a:rPr lang="en-US" sz="1600" dirty="0">
                <a:latin typeface="Calibri" panose="020F0502020204030204" pitchFamily="34" charset="0"/>
              </a:rPr>
              <a:t>24</a:t>
            </a:r>
            <a:r>
              <a:rPr lang="en-US" sz="1600" b="0" i="0" u="none" strike="noStrike" baseline="0" dirty="0">
                <a:latin typeface="Calibri" panose="020F0502020204030204" pitchFamily="34" charset="0"/>
              </a:rPr>
              <a:t> wells consecutively from</a:t>
            </a:r>
            <a:r>
              <a:rPr lang="en-US" sz="1600" dirty="0">
                <a:latin typeface="Calibri" panose="020F0502020204030204" pitchFamily="34" charset="0"/>
              </a:rPr>
              <a:t> one newly-constructed pad</a:t>
            </a:r>
            <a:endParaRPr lang="en-US" sz="1600" b="0" i="0" u="none" strike="noStrike" baseline="0" dirty="0">
              <a:latin typeface="Calibri" panose="020F0502020204030204" pitchFamily="34" charset="0"/>
            </a:endParaRPr>
          </a:p>
          <a:p>
            <a:pPr lvl="1"/>
            <a:r>
              <a:rPr lang="en-US" sz="1400" b="0" i="0" u="none" strike="noStrike" baseline="0" dirty="0">
                <a:latin typeface="Calibri" panose="020F0502020204030204" pitchFamily="34" charset="0"/>
              </a:rPr>
              <a:t>Up to 9 wells will be drilled from west to east, through sections 10, 11, and W2 12, to a</a:t>
            </a:r>
            <a:r>
              <a:rPr lang="en-US" sz="1400" dirty="0">
                <a:latin typeface="Calibri" panose="020F0502020204030204" pitchFamily="34" charset="0"/>
              </a:rPr>
              <a:t> total horizontal length of 2.5 miles</a:t>
            </a:r>
          </a:p>
          <a:p>
            <a:pPr lvl="1"/>
            <a:r>
              <a:rPr lang="en-US" sz="1400" b="0" i="0" u="none" strike="noStrike" baseline="0" dirty="0">
                <a:latin typeface="Calibri" panose="020F0502020204030204" pitchFamily="34" charset="0"/>
              </a:rPr>
              <a:t>Up to 15 wells will be drilled from east to west, through sections 9, 8, and 7, to a total horizontal length of 3 miles; or through sections 16 W2W2, 17, and 18, to a total horizontal length of 2.25 miles</a:t>
            </a:r>
          </a:p>
          <a:p>
            <a:pPr marL="0" indent="0">
              <a:buNone/>
            </a:pPr>
            <a:r>
              <a:rPr lang="en-US" sz="2000" dirty="0">
                <a:solidFill>
                  <a:schemeClr val="tx1"/>
                </a:solidFill>
                <a:latin typeface="Calibri" panose="020F0502020204030204" pitchFamily="34" charset="0"/>
              </a:rPr>
              <a:t>Information</a:t>
            </a:r>
          </a:p>
          <a:p>
            <a:r>
              <a:rPr lang="en-US" sz="1400" b="1" dirty="0">
                <a:solidFill>
                  <a:schemeClr val="tx1"/>
                </a:solidFill>
              </a:rPr>
              <a:t>Location: </a:t>
            </a:r>
            <a:r>
              <a:rPr lang="en-US" sz="1400" dirty="0">
                <a:solidFill>
                  <a:schemeClr val="tx1"/>
                </a:solidFill>
              </a:rPr>
              <a:t>SENW Section 10 T5S-R65W 6</a:t>
            </a:r>
            <a:r>
              <a:rPr lang="en-US" sz="1400" baseline="30000" dirty="0">
                <a:solidFill>
                  <a:schemeClr val="tx1"/>
                </a:solidFill>
              </a:rPr>
              <a:t>th</a:t>
            </a:r>
            <a:r>
              <a:rPr lang="en-US" sz="1400" dirty="0">
                <a:solidFill>
                  <a:schemeClr val="tx1"/>
                </a:solidFill>
              </a:rPr>
              <a:t> PM                </a:t>
            </a:r>
          </a:p>
          <a:p>
            <a:r>
              <a:rPr lang="en-US" sz="1400" b="1" dirty="0">
                <a:solidFill>
                  <a:schemeClr val="tx1"/>
                </a:solidFill>
              </a:rPr>
              <a:t>Ownership:  </a:t>
            </a:r>
            <a:r>
              <a:rPr lang="en-US" sz="1400" dirty="0">
                <a:solidFill>
                  <a:schemeClr val="tx1"/>
                </a:solidFill>
              </a:rPr>
              <a:t>State Surface</a:t>
            </a:r>
          </a:p>
          <a:p>
            <a:r>
              <a:rPr lang="en-US" sz="1400" b="1" dirty="0">
                <a:solidFill>
                  <a:schemeClr val="tx1"/>
                </a:solidFill>
              </a:rPr>
              <a:t>Current &amp; Future Land Use:  </a:t>
            </a:r>
            <a:r>
              <a:rPr lang="en-US" sz="1400" dirty="0">
                <a:solidFill>
                  <a:schemeClr val="tx1"/>
                </a:solidFill>
              </a:rPr>
              <a:t>Rangeland</a:t>
            </a:r>
          </a:p>
          <a:p>
            <a:r>
              <a:rPr lang="en-US" sz="1400" b="1" dirty="0">
                <a:solidFill>
                  <a:schemeClr val="tx1"/>
                </a:solidFill>
              </a:rPr>
              <a:t>Initial Disturbance Area: </a:t>
            </a:r>
            <a:r>
              <a:rPr lang="en-US" sz="1400" dirty="0">
                <a:solidFill>
                  <a:schemeClr val="tx1"/>
                </a:solidFill>
              </a:rPr>
              <a:t>21.5 acres</a:t>
            </a:r>
          </a:p>
          <a:p>
            <a:r>
              <a:rPr lang="en-US" sz="1400" b="1" dirty="0">
                <a:solidFill>
                  <a:schemeClr val="tx1"/>
                </a:solidFill>
              </a:rPr>
              <a:t>Initial Working Pad Surface: </a:t>
            </a:r>
            <a:r>
              <a:rPr lang="en-US" sz="1400" dirty="0"/>
              <a:t>12.6</a:t>
            </a:r>
            <a:r>
              <a:rPr lang="en-US" sz="1400" dirty="0">
                <a:solidFill>
                  <a:schemeClr val="tx1"/>
                </a:solidFill>
              </a:rPr>
              <a:t> acres   </a:t>
            </a:r>
          </a:p>
          <a:p>
            <a:r>
              <a:rPr lang="en-US" sz="1400" b="1" dirty="0"/>
              <a:t>Interim Reclaimed Disturbance Area: </a:t>
            </a:r>
            <a:r>
              <a:rPr lang="en-US" sz="1400" dirty="0">
                <a:solidFill>
                  <a:schemeClr val="tx1"/>
                </a:solidFill>
              </a:rPr>
              <a:t>16.8 acres         </a:t>
            </a:r>
          </a:p>
          <a:p>
            <a:r>
              <a:rPr lang="en-US" sz="1400" b="1" dirty="0">
                <a:solidFill>
                  <a:schemeClr val="tx1"/>
                </a:solidFill>
              </a:rPr>
              <a:t>Interim Reclaimed Pad Surface </a:t>
            </a:r>
            <a:r>
              <a:rPr lang="en-US" sz="1400" b="1" dirty="0"/>
              <a:t>Area</a:t>
            </a:r>
            <a:r>
              <a:rPr lang="en-US" sz="1400" dirty="0">
                <a:solidFill>
                  <a:schemeClr val="tx1"/>
                </a:solidFill>
              </a:rPr>
              <a:t>: 7.2 acres</a:t>
            </a:r>
          </a:p>
          <a:p>
            <a:r>
              <a:rPr lang="en-US" sz="1400" b="1" dirty="0">
                <a:solidFill>
                  <a:schemeClr val="tx1"/>
                </a:solidFill>
              </a:rPr>
              <a:t>Planned # of wells:  </a:t>
            </a:r>
            <a:r>
              <a:rPr lang="en-US" sz="1400" dirty="0">
                <a:solidFill>
                  <a:schemeClr val="tx1"/>
                </a:solidFill>
              </a:rPr>
              <a:t>Up to 24</a:t>
            </a:r>
            <a:endParaRPr lang="en-US" sz="1400" dirty="0"/>
          </a:p>
          <a:p>
            <a:r>
              <a:rPr lang="en-US" sz="1400" b="1" dirty="0">
                <a:solidFill>
                  <a:schemeClr val="tx1"/>
                </a:solidFill>
              </a:rPr>
              <a:t>Nearest cross streets: </a:t>
            </a:r>
            <a:r>
              <a:rPr lang="en-US" sz="1400" dirty="0">
                <a:solidFill>
                  <a:schemeClr val="tx1"/>
                </a:solidFill>
              </a:rPr>
              <a:t>East </a:t>
            </a:r>
            <a:r>
              <a:rPr lang="en-US" sz="1400" dirty="0"/>
              <a:t>Quincy</a:t>
            </a:r>
            <a:r>
              <a:rPr lang="en-US" sz="1400" i="0" u="none" strike="noStrike" baseline="0" dirty="0"/>
              <a:t> Ave. &amp; S Harvest Rd.</a:t>
            </a:r>
            <a:endParaRPr lang="en-US" sz="1400" dirty="0"/>
          </a:p>
          <a:p>
            <a:endParaRPr lang="en-US" sz="2000" dirty="0">
              <a:latin typeface="Calibri" panose="020F0502020204030204" pitchFamily="34" charset="0"/>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5</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600276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5D4A4F0A-2227-44EC-993C-CBE03597840E}"/>
              </a:ext>
            </a:extLst>
          </p:cNvPr>
          <p:cNvSpPr>
            <a:spLocks noGrp="1"/>
          </p:cNvSpPr>
          <p:nvPr>
            <p:ph type="title"/>
          </p:nvPr>
        </p:nvSpPr>
        <p:spPr>
          <a:xfrm>
            <a:off x="630936" y="639520"/>
            <a:ext cx="3429000" cy="1719072"/>
          </a:xfrm>
        </p:spPr>
        <p:txBody>
          <a:bodyPr vert="horz" lIns="91440" tIns="45720" rIns="91440" bIns="45720" rtlCol="0" anchor="b">
            <a:normAutofit/>
          </a:bodyPr>
          <a:lstStyle/>
          <a:p>
            <a:r>
              <a:rPr lang="en-US" sz="2600" kern="1200">
                <a:solidFill>
                  <a:schemeClr val="tx1"/>
                </a:solidFill>
                <a:latin typeface="+mj-lt"/>
                <a:ea typeface="+mj-ea"/>
                <a:cs typeface="+mj-cs"/>
              </a:rPr>
              <a:t>Location</a:t>
            </a:r>
            <a:br>
              <a:rPr lang="en-US" sz="2600" kern="1200">
                <a:solidFill>
                  <a:schemeClr val="tx1"/>
                </a:solidFill>
                <a:latin typeface="+mj-lt"/>
                <a:ea typeface="+mj-ea"/>
                <a:cs typeface="+mj-cs"/>
              </a:rPr>
            </a:br>
            <a:r>
              <a:rPr lang="en-US" sz="2600" kern="1200">
                <a:solidFill>
                  <a:schemeClr val="tx1"/>
                </a:solidFill>
                <a:latin typeface="+mj-lt"/>
                <a:ea typeface="+mj-ea"/>
                <a:cs typeface="+mj-cs"/>
              </a:rPr>
              <a:t>and </a:t>
            </a:r>
            <a:br>
              <a:rPr lang="en-US" sz="2600" kern="1200">
                <a:solidFill>
                  <a:schemeClr val="tx1"/>
                </a:solidFill>
                <a:latin typeface="+mj-lt"/>
                <a:ea typeface="+mj-ea"/>
                <a:cs typeface="+mj-cs"/>
              </a:rPr>
            </a:br>
            <a:r>
              <a:rPr lang="en-US" sz="2600" kern="1200">
                <a:solidFill>
                  <a:schemeClr val="tx1"/>
                </a:solidFill>
                <a:latin typeface="+mj-lt"/>
                <a:ea typeface="+mj-ea"/>
                <a:cs typeface="+mj-cs"/>
              </a:rPr>
              <a:t>Haul Route</a:t>
            </a:r>
            <a:br>
              <a:rPr lang="en-US" sz="2600" kern="1200">
                <a:solidFill>
                  <a:schemeClr val="tx1"/>
                </a:solidFill>
                <a:latin typeface="+mj-lt"/>
                <a:ea typeface="+mj-ea"/>
                <a:cs typeface="+mj-cs"/>
              </a:rPr>
            </a:br>
            <a:r>
              <a:rPr lang="en-US" sz="2600" kern="1200">
                <a:solidFill>
                  <a:schemeClr val="tx1"/>
                </a:solidFill>
                <a:latin typeface="+mj-lt"/>
                <a:ea typeface="+mj-ea"/>
                <a:cs typeface="+mj-cs"/>
              </a:rPr>
              <a:t>Map</a:t>
            </a:r>
          </a:p>
        </p:txBody>
      </p:sp>
      <p:sp>
        <p:nvSpPr>
          <p:cNvPr id="19"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A525F79B-6494-CD9C-2A43-CC8A7CAE1F77}"/>
              </a:ext>
            </a:extLst>
          </p:cNvPr>
          <p:cNvSpPr txBox="1"/>
          <p:nvPr/>
        </p:nvSpPr>
        <p:spPr>
          <a:xfrm>
            <a:off x="630936" y="2807208"/>
            <a:ext cx="3429000" cy="3410712"/>
          </a:xfrm>
          <a:prstGeom prst="rect">
            <a:avLst/>
          </a:prstGeom>
        </p:spPr>
        <p:txBody>
          <a:bodyPr vert="horz" lIns="91440" tIns="45720" rIns="91440" bIns="45720" rtlCol="0" anchor="t">
            <a:normAutofit/>
          </a:bodyPr>
          <a:lstStyle/>
          <a:p>
            <a:pPr indent="-228600">
              <a:lnSpc>
                <a:spcPct val="90000"/>
              </a:lnSpc>
              <a:spcAft>
                <a:spcPts val="600"/>
              </a:spcAft>
              <a:buFont typeface="Arial" panose="020B0604020202020204" pitchFamily="34" charset="0"/>
              <a:buChar char="•"/>
            </a:pPr>
            <a:r>
              <a:rPr lang="en-US" sz="1500" b="1" dirty="0"/>
              <a:t>Proposed Haul Route Directions:</a:t>
            </a:r>
          </a:p>
          <a:p>
            <a:pPr indent="-228600">
              <a:lnSpc>
                <a:spcPct val="90000"/>
              </a:lnSpc>
              <a:spcAft>
                <a:spcPts val="600"/>
              </a:spcAft>
              <a:buFont typeface="Arial" panose="020B0604020202020204" pitchFamily="34" charset="0"/>
              <a:buChar char="•"/>
            </a:pPr>
            <a:endParaRPr lang="en-US" sz="1500" b="1" dirty="0"/>
          </a:p>
          <a:p>
            <a:pPr indent="-228600">
              <a:lnSpc>
                <a:spcPct val="90000"/>
              </a:lnSpc>
              <a:spcAft>
                <a:spcPts val="600"/>
              </a:spcAft>
              <a:buFont typeface="Arial" panose="020B0604020202020204" pitchFamily="34" charset="0"/>
              <a:buChar char="•"/>
            </a:pPr>
            <a:r>
              <a:rPr lang="en-US" sz="1500" b="1" dirty="0"/>
              <a:t>From the State Blanca West site, drive ~0.75 miles West and North on private access road to E. Quincy Ave. then East 3 miles to Watkins Road. Proceed North for 7 miles.  Enter i70 westbound toward Denver (~21 miles)</a:t>
            </a:r>
          </a:p>
          <a:p>
            <a:pPr indent="-228600">
              <a:lnSpc>
                <a:spcPct val="90000"/>
              </a:lnSpc>
              <a:spcAft>
                <a:spcPts val="600"/>
              </a:spcAft>
              <a:buFont typeface="Arial" panose="020B0604020202020204" pitchFamily="34" charset="0"/>
              <a:buChar char="•"/>
            </a:pPr>
            <a:endParaRPr lang="en-US" sz="1500" b="1" dirty="0"/>
          </a:p>
          <a:p>
            <a:pPr marL="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1500" b="1" i="0" u="none" strike="noStrike" cap="none" spc="0" normalizeH="0" baseline="0" noProof="0" dirty="0">
                <a:ln>
                  <a:noFill/>
                </a:ln>
                <a:effectLst/>
                <a:uLnTx/>
                <a:uFillTx/>
              </a:rPr>
              <a:t>Yellow</a:t>
            </a:r>
            <a:r>
              <a:rPr lang="en-US" sz="1500" b="1" dirty="0"/>
              <a:t> </a:t>
            </a:r>
            <a:r>
              <a:rPr kumimoji="0" lang="en-US" sz="1500" b="1" i="0" u="none" strike="noStrike" cap="none" spc="0" normalizeH="0" baseline="0" noProof="0" dirty="0">
                <a:ln>
                  <a:noFill/>
                </a:ln>
                <a:effectLst/>
                <a:uLnTx/>
                <a:uFillTx/>
              </a:rPr>
              <a:t>line depicts Haul Route.</a:t>
            </a:r>
          </a:p>
          <a:p>
            <a:pPr indent="-228600">
              <a:lnSpc>
                <a:spcPct val="90000"/>
              </a:lnSpc>
              <a:spcAft>
                <a:spcPts val="600"/>
              </a:spcAft>
              <a:buFont typeface="Arial" panose="020B0604020202020204" pitchFamily="34" charset="0"/>
              <a:buChar char="•"/>
            </a:pPr>
            <a:endParaRPr lang="en-US" sz="1500" dirty="0"/>
          </a:p>
        </p:txBody>
      </p:sp>
      <p:sp>
        <p:nvSpPr>
          <p:cNvPr id="2" name="Slide Number Placeholder 1">
            <a:extLst>
              <a:ext uri="{FF2B5EF4-FFF2-40B4-BE49-F238E27FC236}">
                <a16:creationId xmlns:a16="http://schemas.microsoft.com/office/drawing/2014/main" id="{858D5535-5B5B-457F-83FA-4374E2CBE1FF}"/>
              </a:ext>
            </a:extLst>
          </p:cNvPr>
          <p:cNvSpPr>
            <a:spLocks noGrp="1"/>
          </p:cNvSpPr>
          <p:nvPr>
            <p:ph type="sldNum" sz="quarter" idx="11"/>
          </p:nvPr>
        </p:nvSpPr>
        <p:spPr>
          <a:xfrm>
            <a:off x="8610600" y="6356350"/>
            <a:ext cx="2743200" cy="365125"/>
          </a:xfrm>
        </p:spPr>
        <p:txBody>
          <a:bodyPr vert="horz" lIns="91440" tIns="45720" rIns="91440" bIns="45720" rtlCol="0" anchor="ctr">
            <a:normAutofit/>
          </a:bodyPr>
          <a:lstStyle/>
          <a:p>
            <a:pPr>
              <a:spcAft>
                <a:spcPts val="600"/>
              </a:spcAft>
            </a:pPr>
            <a:fld id="{E12A10EF-65F5-415A-B4AC-FF5E1BACB397}" type="slidenum">
              <a:rPr lang="en-US" sz="1200" smtClean="0">
                <a:solidFill>
                  <a:schemeClr val="tx1">
                    <a:tint val="75000"/>
                  </a:schemeClr>
                </a:solidFill>
                <a:latin typeface="+mn-lt"/>
              </a:rPr>
              <a:pPr>
                <a:spcAft>
                  <a:spcPts val="600"/>
                </a:spcAft>
              </a:pPr>
              <a:t>6</a:t>
            </a:fld>
            <a:endParaRPr lang="en-US" sz="1200">
              <a:solidFill>
                <a:schemeClr val="tx1">
                  <a:tint val="75000"/>
                </a:schemeClr>
              </a:solidFill>
              <a:latin typeface="+mn-lt"/>
            </a:endParaRPr>
          </a:p>
        </p:txBody>
      </p:sp>
      <p:sp>
        <p:nvSpPr>
          <p:cNvPr id="9" name="Rectangle 8">
            <a:extLst>
              <a:ext uri="{FF2B5EF4-FFF2-40B4-BE49-F238E27FC236}">
                <a16:creationId xmlns:a16="http://schemas.microsoft.com/office/drawing/2014/main" id="{74441159-E36B-40F5-B9EB-76A1EBD38F1F}"/>
              </a:ext>
            </a:extLst>
          </p:cNvPr>
          <p:cNvSpPr/>
          <p:nvPr/>
        </p:nvSpPr>
        <p:spPr>
          <a:xfrm>
            <a:off x="647700" y="1993900"/>
            <a:ext cx="3365328" cy="3871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a:solidFill>
                <a:schemeClr val="tx1"/>
              </a:solidFill>
              <a:latin typeface="Century Gothic" panose="020B0502020202020204" pitchFamily="34" charset="0"/>
            </a:endParaRPr>
          </a:p>
        </p:txBody>
      </p:sp>
      <p:sp>
        <p:nvSpPr>
          <p:cNvPr id="8" name="Title 13">
            <a:extLst>
              <a:ext uri="{FF2B5EF4-FFF2-40B4-BE49-F238E27FC236}">
                <a16:creationId xmlns:a16="http://schemas.microsoft.com/office/drawing/2014/main" id="{F3758A96-34D9-434F-87A7-4CCB2B2C07B5}"/>
              </a:ext>
            </a:extLst>
          </p:cNvPr>
          <p:cNvSpPr txBox="1">
            <a:spLocks/>
          </p:cNvSpPr>
          <p:nvPr/>
        </p:nvSpPr>
        <p:spPr>
          <a:xfrm>
            <a:off x="495300" y="-1273175"/>
            <a:ext cx="3517900" cy="1065213"/>
          </a:xfrm>
          <a:prstGeom prst="rect">
            <a:avLst/>
          </a:prstGeom>
        </p:spPr>
        <p:txBody>
          <a:bodyPr>
            <a:normAutofit/>
          </a:bodyPr>
          <a:lst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a:lstStyle>
          <a:p>
            <a:endParaRPr lang="en-US"/>
          </a:p>
        </p:txBody>
      </p:sp>
      <p:pic>
        <p:nvPicPr>
          <p:cNvPr id="5" name="Picture 4">
            <a:extLst>
              <a:ext uri="{FF2B5EF4-FFF2-40B4-BE49-F238E27FC236}">
                <a16:creationId xmlns:a16="http://schemas.microsoft.com/office/drawing/2014/main" id="{A7001BB3-792E-84FA-B37B-51C1515ED9C6}"/>
              </a:ext>
            </a:extLst>
          </p:cNvPr>
          <p:cNvPicPr>
            <a:picLocks noChangeAspect="1"/>
          </p:cNvPicPr>
          <p:nvPr/>
        </p:nvPicPr>
        <p:blipFill rotWithShape="1">
          <a:blip r:embed="rId2"/>
          <a:srcRect t="845"/>
          <a:stretch/>
        </p:blipFill>
        <p:spPr>
          <a:xfrm>
            <a:off x="4928779" y="28977"/>
            <a:ext cx="6118159" cy="6800045"/>
          </a:xfrm>
          <a:prstGeom prst="rect">
            <a:avLst/>
          </a:prstGeom>
        </p:spPr>
        <p:style>
          <a:lnRef idx="2">
            <a:schemeClr val="dk1"/>
          </a:lnRef>
          <a:fillRef idx="1">
            <a:schemeClr val="lt1"/>
          </a:fillRef>
          <a:effectRef idx="0">
            <a:schemeClr val="dk1"/>
          </a:effectRef>
          <a:fontRef idx="minor">
            <a:schemeClr val="dk1"/>
          </a:fontRef>
        </p:style>
      </p:pic>
    </p:spTree>
    <p:extLst>
      <p:ext uri="{BB962C8B-B14F-4D97-AF65-F5344CB8AC3E}">
        <p14:creationId xmlns:p14="http://schemas.microsoft.com/office/powerpoint/2010/main" val="4482327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Setbacks</a:t>
            </a: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7</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Content Placeholder 5">
            <a:extLst>
              <a:ext uri="{FF2B5EF4-FFF2-40B4-BE49-F238E27FC236}">
                <a16:creationId xmlns:a16="http://schemas.microsoft.com/office/drawing/2014/main" id="{58175C89-3DAC-F488-EFC2-9E47E5C62AA8}"/>
              </a:ext>
            </a:extLst>
          </p:cNvPr>
          <p:cNvSpPr>
            <a:spLocks noGrp="1"/>
          </p:cNvSpPr>
          <p:nvPr>
            <p:ph idx="1"/>
          </p:nvPr>
        </p:nvSpPr>
        <p:spPr>
          <a:xfrm>
            <a:off x="495300" y="1430338"/>
            <a:ext cx="11201400" cy="5008562"/>
          </a:xfrm>
        </p:spPr>
        <p:txBody>
          <a:bodyPr>
            <a:normAutofit/>
          </a:bodyPr>
          <a:lstStyle/>
          <a:p>
            <a:pPr marL="0" indent="0">
              <a:buNone/>
            </a:pPr>
            <a:r>
              <a:rPr lang="en-US" sz="2000" b="1" dirty="0"/>
              <a:t>Measured from Working Pad Surface to the feature:  </a:t>
            </a:r>
            <a:endParaRPr lang="en-US" sz="2000" b="1" dirty="0">
              <a:solidFill>
                <a:schemeClr val="tx1"/>
              </a:solidFill>
            </a:endParaRPr>
          </a:p>
          <a:p>
            <a:r>
              <a:rPr lang="en-US" sz="1600" b="1" dirty="0">
                <a:solidFill>
                  <a:schemeClr val="tx1"/>
                </a:solidFill>
              </a:rPr>
              <a:t>Nearest Residential Building Unit (RBU): </a:t>
            </a:r>
            <a:r>
              <a:rPr lang="en-US" sz="1600" dirty="0"/>
              <a:t>&gt;</a:t>
            </a:r>
            <a:r>
              <a:rPr lang="en-US" sz="1600" b="1" dirty="0"/>
              <a:t> </a:t>
            </a:r>
            <a:r>
              <a:rPr lang="en-US" sz="1600" dirty="0"/>
              <a:t>5,280’ W</a:t>
            </a:r>
            <a:endParaRPr lang="en-US" sz="1600" dirty="0">
              <a:solidFill>
                <a:schemeClr val="tx1"/>
              </a:solidFill>
            </a:endParaRPr>
          </a:p>
          <a:p>
            <a:r>
              <a:rPr lang="en-US" sz="1600" b="1" dirty="0">
                <a:solidFill>
                  <a:schemeClr val="tx1"/>
                </a:solidFill>
              </a:rPr>
              <a:t>Nearest Open Space: </a:t>
            </a:r>
            <a:r>
              <a:rPr lang="en-US" sz="1600" dirty="0">
                <a:solidFill>
                  <a:schemeClr val="tx1"/>
                </a:solidFill>
              </a:rPr>
              <a:t>&gt; 5,280’ W</a:t>
            </a:r>
          </a:p>
          <a:p>
            <a:r>
              <a:rPr lang="en-US" sz="1600" b="1" dirty="0">
                <a:solidFill>
                  <a:schemeClr val="tx1"/>
                </a:solidFill>
              </a:rPr>
              <a:t>Nearest School Facility or Childcare Center</a:t>
            </a:r>
            <a:r>
              <a:rPr lang="en-US" sz="1600" dirty="0">
                <a:solidFill>
                  <a:schemeClr val="tx1"/>
                </a:solidFill>
              </a:rPr>
              <a:t>: &gt; 5,280’ NW</a:t>
            </a:r>
          </a:p>
          <a:p>
            <a:r>
              <a:rPr lang="en-US" sz="1600" b="1" dirty="0">
                <a:solidFill>
                  <a:srgbClr val="000000"/>
                </a:solidFill>
                <a:ea typeface="Calibri" panose="020F0502020204030204" pitchFamily="34" charset="0"/>
              </a:rPr>
              <a:t>N</a:t>
            </a:r>
            <a:r>
              <a:rPr lang="en-US" sz="1600" b="1" dirty="0">
                <a:solidFill>
                  <a:srgbClr val="000000"/>
                </a:solidFill>
                <a:effectLst/>
                <a:ea typeface="Calibri" panose="020F0502020204030204" pitchFamily="34" charset="0"/>
              </a:rPr>
              <a:t>earest surface water: </a:t>
            </a:r>
            <a:r>
              <a:rPr lang="en-US" sz="1600" dirty="0">
                <a:solidFill>
                  <a:srgbClr val="000000"/>
                </a:solidFill>
                <a:ea typeface="Calibri" panose="020F0502020204030204" pitchFamily="34" charset="0"/>
              </a:rPr>
              <a:t>3,788</a:t>
            </a:r>
            <a:r>
              <a:rPr lang="en-US" sz="1600" dirty="0">
                <a:solidFill>
                  <a:srgbClr val="000000"/>
                </a:solidFill>
                <a:effectLst/>
                <a:ea typeface="Calibri" panose="020F0502020204030204" pitchFamily="34" charset="0"/>
              </a:rPr>
              <a:t>’ S</a:t>
            </a:r>
            <a:endParaRPr lang="en-US" sz="1600" dirty="0">
              <a:solidFill>
                <a:srgbClr val="000000"/>
              </a:solidFill>
              <a:ea typeface="Calibri" panose="020F0502020204030204" pitchFamily="34" charset="0"/>
            </a:endParaRPr>
          </a:p>
          <a:p>
            <a:endParaRPr lang="en-US" sz="1600" b="1" dirty="0">
              <a:solidFill>
                <a:srgbClr val="000000"/>
              </a:solidFill>
              <a:effectLst/>
              <a:ea typeface="Calibri" panose="020F0502020204030204" pitchFamily="34" charset="0"/>
            </a:endParaRPr>
          </a:p>
          <a:p>
            <a:r>
              <a:rPr lang="en-US" sz="1600" b="1" dirty="0">
                <a:solidFill>
                  <a:srgbClr val="000000"/>
                </a:solidFill>
                <a:effectLst/>
                <a:ea typeface="Calibri" panose="020F0502020204030204" pitchFamily="34" charset="0"/>
              </a:rPr>
              <a:t>Aurora Reservoir: </a:t>
            </a:r>
            <a:r>
              <a:rPr lang="en-US" sz="1600" dirty="0">
                <a:solidFill>
                  <a:srgbClr val="000000"/>
                </a:solidFill>
                <a:ea typeface="Calibri" panose="020F0502020204030204" pitchFamily="34" charset="0"/>
              </a:rPr>
              <a:t>3,788’ S (topographically isolated)</a:t>
            </a:r>
          </a:p>
          <a:p>
            <a:r>
              <a:rPr lang="en-US" sz="1600" b="1" dirty="0">
                <a:solidFill>
                  <a:srgbClr val="000000"/>
                </a:solidFill>
                <a:ea typeface="Calibri" panose="020F0502020204030204" pitchFamily="34" charset="0"/>
              </a:rPr>
              <a:t>Planned Reservoir B: </a:t>
            </a:r>
            <a:r>
              <a:rPr lang="en-US" sz="1600" dirty="0">
                <a:solidFill>
                  <a:srgbClr val="000000"/>
                </a:solidFill>
                <a:ea typeface="Calibri" panose="020F0502020204030204" pitchFamily="34" charset="0"/>
              </a:rPr>
              <a:t>3,313’ SE (topographically isolated)</a:t>
            </a:r>
            <a:endParaRPr lang="en-US" sz="1600" b="1" dirty="0">
              <a:solidFill>
                <a:srgbClr val="000000"/>
              </a:solidFill>
              <a:ea typeface="Calibri" panose="020F0502020204030204" pitchFamily="34" charset="0"/>
            </a:endParaRPr>
          </a:p>
          <a:p>
            <a:endParaRPr lang="en-US" sz="1100" dirty="0"/>
          </a:p>
          <a:p>
            <a:pPr marL="742950" lvl="1" indent="-285750">
              <a:lnSpc>
                <a:spcPct val="120000"/>
              </a:lnSpc>
              <a:spcBef>
                <a:spcPts val="0"/>
              </a:spcBef>
              <a:buFont typeface="Arial" panose="020B0604020202020204" pitchFamily="34" charset="0"/>
              <a:buChar char="•"/>
            </a:pPr>
            <a:endParaRPr lang="en-US" sz="1100" dirty="0">
              <a:solidFill>
                <a:schemeClr val="tx1"/>
              </a:solidFill>
              <a:highlight>
                <a:srgbClr val="FFFF00"/>
              </a:highlight>
            </a:endParaRPr>
          </a:p>
        </p:txBody>
      </p:sp>
      <p:sp>
        <p:nvSpPr>
          <p:cNvPr id="12" name="Slide Number Placeholder 18">
            <a:extLst>
              <a:ext uri="{FF2B5EF4-FFF2-40B4-BE49-F238E27FC236}">
                <a16:creationId xmlns:a16="http://schemas.microsoft.com/office/drawing/2014/main" id="{12F1E2FD-3258-7C84-3830-E49C37E14741}"/>
              </a:ext>
            </a:extLst>
          </p:cNvPr>
          <p:cNvSpPr txBox="1">
            <a:spLocks/>
          </p:cNvSpPr>
          <p:nvPr/>
        </p:nvSpPr>
        <p:spPr>
          <a:xfrm>
            <a:off x="11009562" y="6449372"/>
            <a:ext cx="778221" cy="228600"/>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A10EF-65F5-415A-B4AC-FF5E1BACB397}" type="slidenum">
              <a:rPr lang="en-US" smtClean="0"/>
              <a:pPr/>
              <a:t>7</a:t>
            </a:fld>
            <a:endParaRPr lang="en-US"/>
          </a:p>
        </p:txBody>
      </p:sp>
    </p:spTree>
    <p:extLst>
      <p:ext uri="{BB962C8B-B14F-4D97-AF65-F5344CB8AC3E}">
        <p14:creationId xmlns:p14="http://schemas.microsoft.com/office/powerpoint/2010/main" val="37153772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 Estimated Timeline (subject to change)</a:t>
            </a: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8</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Content Placeholder 3">
            <a:extLst>
              <a:ext uri="{FF2B5EF4-FFF2-40B4-BE49-F238E27FC236}">
                <a16:creationId xmlns:a16="http://schemas.microsoft.com/office/drawing/2014/main" id="{A58D9A61-4065-8E2F-3748-B4809D8C9F39}"/>
              </a:ext>
            </a:extLst>
          </p:cNvPr>
          <p:cNvSpPr>
            <a:spLocks noGrp="1"/>
          </p:cNvSpPr>
          <p:nvPr>
            <p:ph idx="1"/>
          </p:nvPr>
        </p:nvSpPr>
        <p:spPr>
          <a:xfrm>
            <a:off x="495300" y="1484313"/>
            <a:ext cx="11201400" cy="5008562"/>
          </a:xfrm>
        </p:spPr>
        <p:txBody>
          <a:bodyPr>
            <a:normAutofit/>
          </a:bodyPr>
          <a:lstStyle/>
          <a:p>
            <a:pPr>
              <a:lnSpc>
                <a:spcPct val="150000"/>
              </a:lnSpc>
            </a:pPr>
            <a:r>
              <a:rPr lang="en-US" sz="1800" dirty="0"/>
              <a:t>Initial Construction: Q2 2026 (~60 Days)</a:t>
            </a:r>
          </a:p>
          <a:p>
            <a:pPr>
              <a:lnSpc>
                <a:spcPct val="150000"/>
              </a:lnSpc>
            </a:pPr>
            <a:r>
              <a:rPr lang="en-US" sz="1800" dirty="0"/>
              <a:t>Drilling: Q3 – Q4 2026  (~180 days)</a:t>
            </a:r>
          </a:p>
          <a:p>
            <a:pPr>
              <a:lnSpc>
                <a:spcPct val="150000"/>
              </a:lnSpc>
            </a:pPr>
            <a:r>
              <a:rPr lang="en-US" sz="1800" dirty="0"/>
              <a:t>Completions: Q4 2026 – Q1 2027 (~130 days)</a:t>
            </a:r>
          </a:p>
          <a:p>
            <a:pPr>
              <a:lnSpc>
                <a:spcPct val="150000"/>
              </a:lnSpc>
            </a:pPr>
            <a:r>
              <a:rPr lang="en-US" sz="1800" dirty="0"/>
              <a:t>Anticipated First Production: Q2 2027</a:t>
            </a:r>
          </a:p>
          <a:p>
            <a:pPr>
              <a:lnSpc>
                <a:spcPct val="150000"/>
              </a:lnSpc>
            </a:pPr>
            <a:r>
              <a:rPr lang="en-US" sz="1800" dirty="0"/>
              <a:t>Anticipated Interim Reclamation: Q2 2027</a:t>
            </a:r>
          </a:p>
          <a:p>
            <a:pPr>
              <a:lnSpc>
                <a:spcPct val="150000"/>
              </a:lnSpc>
            </a:pPr>
            <a:endParaRPr lang="en-US" sz="1800" dirty="0"/>
          </a:p>
          <a:p>
            <a:pPr>
              <a:lnSpc>
                <a:spcPct val="150000"/>
              </a:lnSpc>
            </a:pPr>
            <a:endParaRPr lang="en-US" sz="1800" dirty="0"/>
          </a:p>
          <a:p>
            <a:pPr>
              <a:lnSpc>
                <a:spcPct val="150000"/>
              </a:lnSpc>
            </a:pPr>
            <a:endParaRPr lang="en-US" sz="1800" dirty="0"/>
          </a:p>
        </p:txBody>
      </p:sp>
    </p:spTree>
    <p:extLst>
      <p:ext uri="{BB962C8B-B14F-4D97-AF65-F5344CB8AC3E}">
        <p14:creationId xmlns:p14="http://schemas.microsoft.com/office/powerpoint/2010/main" val="8514774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fontScale="90000"/>
          </a:bodyPr>
          <a:lstStyle/>
          <a:p>
            <a:r>
              <a:rPr lang="en-US" sz="4000" b="1">
                <a:solidFill>
                  <a:srgbClr val="013061"/>
                </a:solidFill>
              </a:rPr>
              <a:t>Planned Mitigation Measures and </a:t>
            </a:r>
            <a:br>
              <a:rPr lang="en-US" sz="4000" b="1">
                <a:solidFill>
                  <a:srgbClr val="013061"/>
                </a:solidFill>
              </a:rPr>
            </a:br>
            <a:r>
              <a:rPr lang="en-US" sz="4000" b="1">
                <a:solidFill>
                  <a:srgbClr val="013061"/>
                </a:solidFill>
              </a:rPr>
              <a:t>Best Management Practices (BMP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9</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58049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IVITAS">
      <a:dk1>
        <a:sysClr val="windowText" lastClr="000000"/>
      </a:dk1>
      <a:lt1>
        <a:sysClr val="window" lastClr="FFFFFF"/>
      </a:lt1>
      <a:dk2>
        <a:srgbClr val="44546A"/>
      </a:dk2>
      <a:lt2>
        <a:srgbClr val="E7E6E6"/>
      </a:lt2>
      <a:accent1>
        <a:srgbClr val="429BD6"/>
      </a:accent1>
      <a:accent2>
        <a:srgbClr val="194F73"/>
      </a:accent2>
      <a:accent3>
        <a:srgbClr val="231F1F"/>
      </a:accent3>
      <a:accent4>
        <a:srgbClr val="807C84"/>
      </a:accent4>
      <a:accent5>
        <a:srgbClr val="B2B2B2"/>
      </a:accent5>
      <a:accent6>
        <a:srgbClr val="A9D7F9"/>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62</TotalTime>
  <Words>1705</Words>
  <Application>Microsoft Office PowerPoint</Application>
  <PresentationFormat>Widescreen</PresentationFormat>
  <Paragraphs>163</Paragraphs>
  <Slides>20</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pple-system</vt:lpstr>
      <vt:lpstr>Arial</vt:lpstr>
      <vt:lpstr>Calibri</vt:lpstr>
      <vt:lpstr>Century Gothic</vt:lpstr>
      <vt:lpstr>Office Theme</vt:lpstr>
      <vt:lpstr>think-cell Slide</vt:lpstr>
      <vt:lpstr>State Blanca West (Lowry Ranch CAP)</vt:lpstr>
      <vt:lpstr>PowerPoint Presentation</vt:lpstr>
      <vt:lpstr>Who we are</vt:lpstr>
      <vt:lpstr>Project Information</vt:lpstr>
      <vt:lpstr>Location Plans and Information</vt:lpstr>
      <vt:lpstr>Location and  Haul Route Map</vt:lpstr>
      <vt:lpstr>Setbacks</vt:lpstr>
      <vt:lpstr> Estimated Timeline (subject to change)</vt:lpstr>
      <vt:lpstr>Planned Mitigation Measures and  Best Management Practices (BMPs)</vt:lpstr>
      <vt:lpstr>Mitigation and BMPs</vt:lpstr>
      <vt:lpstr>Mitigation and BMPs (continued)</vt:lpstr>
      <vt:lpstr>Mitigation and BMPs (continued)</vt:lpstr>
      <vt:lpstr>Mitigation and BMPs (continued)</vt:lpstr>
      <vt:lpstr>Mitigation and BMPs (continued)</vt:lpstr>
      <vt:lpstr>Current Permit Status</vt:lpstr>
      <vt:lpstr>Permit Status</vt:lpstr>
      <vt:lpstr>Contact Information</vt:lpstr>
      <vt:lpstr>Company Contacts</vt:lpstr>
      <vt:lpstr>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vyan Matthew Lyngshing [Chillibreeze]</dc:creator>
  <cp:lastModifiedBy>Dan Harrington</cp:lastModifiedBy>
  <cp:revision>16</cp:revision>
  <cp:lastPrinted>2021-11-09T16:53:10Z</cp:lastPrinted>
  <dcterms:created xsi:type="dcterms:W3CDTF">2021-03-24T04:32:47Z</dcterms:created>
  <dcterms:modified xsi:type="dcterms:W3CDTF">2024-02-23T23:01:27Z</dcterms:modified>
</cp:coreProperties>
</file>